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86" r:id="rId3"/>
  </p:sldMasterIdLst>
  <p:notesMasterIdLst>
    <p:notesMasterId r:id="rId20"/>
  </p:notesMasterIdLst>
  <p:sldIdLst>
    <p:sldId id="322" r:id="rId4"/>
    <p:sldId id="369" r:id="rId5"/>
    <p:sldId id="9815" r:id="rId6"/>
    <p:sldId id="9807" r:id="rId7"/>
    <p:sldId id="9826" r:id="rId8"/>
    <p:sldId id="444" r:id="rId9"/>
    <p:sldId id="9817" r:id="rId10"/>
    <p:sldId id="9825" r:id="rId11"/>
    <p:sldId id="9823" r:id="rId12"/>
    <p:sldId id="9808" r:id="rId13"/>
    <p:sldId id="9821" r:id="rId14"/>
    <p:sldId id="9822" r:id="rId15"/>
    <p:sldId id="9820" r:id="rId16"/>
    <p:sldId id="9814" r:id="rId17"/>
    <p:sldId id="9827" r:id="rId18"/>
    <p:sldId id="9824" r:id="rId19"/>
  </p:sldIdLst>
  <p:sldSz cx="12192000" cy="6858000"/>
  <p:notesSz cx="7104063" cy="10234613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C3CB10B3-18C9-441F-A9B4-2ACAB4091688}">
          <p14:sldIdLst>
            <p14:sldId id="322"/>
          </p14:sldIdLst>
        </p14:section>
        <p14:section name="Default Section" id="{37C50A70-E24F-433E-A5B6-0ED1D1329469}">
          <p14:sldIdLst>
            <p14:sldId id="369"/>
            <p14:sldId id="9815"/>
            <p14:sldId id="9807"/>
            <p14:sldId id="9826"/>
            <p14:sldId id="444"/>
            <p14:sldId id="9817"/>
            <p14:sldId id="9825"/>
            <p14:sldId id="9823"/>
            <p14:sldId id="9808"/>
            <p14:sldId id="9821"/>
            <p14:sldId id="9822"/>
            <p14:sldId id="9820"/>
            <p14:sldId id="9814"/>
            <p14:sldId id="9827"/>
            <p14:sldId id="982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 MD" initials="YM" lastIdx="1" clrIdx="0">
    <p:extLst>
      <p:ext uri="{19B8F6BF-5375-455C-9EA6-DF929625EA0E}">
        <p15:presenceInfo xmlns:p15="http://schemas.microsoft.com/office/powerpoint/2012/main" userId="5d7531d33844657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3A1C"/>
    <a:srgbClr val="42D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27" autoAdjust="0"/>
    <p:restoredTop sz="94242" autoAdjust="0"/>
  </p:normalViewPr>
  <p:slideViewPr>
    <p:cSldViewPr snapToGrid="0">
      <p:cViewPr varScale="1">
        <p:scale>
          <a:sx n="74" d="100"/>
          <a:sy n="74" d="100"/>
        </p:scale>
        <p:origin x="1304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3F7B8966-11B0-435E-B385-C78AF0F13093}" type="datetimeFigureOut">
              <a:rPr lang="zh-CN" altLang="en-US" smtClean="0"/>
              <a:t>2019/10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42875" y="768350"/>
            <a:ext cx="6818313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ABB09A2F-E230-4EC9-B354-91FB135E80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097061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l" defTabSz="1045794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charset="0"/>
              </a:defRPr>
            </a:lvl1pPr>
            <a:lvl2pPr marL="804986" indent="-309610" algn="l" defTabSz="1045794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charset="0"/>
              </a:defRPr>
            </a:lvl2pPr>
            <a:lvl3pPr marL="1238441" indent="-247688" algn="l" defTabSz="1045794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charset="0"/>
              </a:defRPr>
            </a:lvl3pPr>
            <a:lvl4pPr marL="1733817" indent="-247688" algn="l" defTabSz="1045794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charset="0"/>
              </a:defRPr>
            </a:lvl4pPr>
            <a:lvl5pPr marL="2229193" indent="-247688" algn="l" defTabSz="1045794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charset="0"/>
              </a:defRPr>
            </a:lvl5pPr>
            <a:lvl6pPr marL="2724569" indent="-247688" defTabSz="1045794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</a:defRPr>
            </a:lvl6pPr>
            <a:lvl7pPr marL="3219945" indent="-247688" defTabSz="1045794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</a:defRPr>
            </a:lvl7pPr>
            <a:lvl8pPr marL="3715322" indent="-247688" defTabSz="1045794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</a:defRPr>
            </a:lvl8pPr>
            <a:lvl9pPr marL="4210698" indent="-247688" defTabSz="1045794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24BA00DD-922B-4039-B0B2-29DFA17AD58C}" type="slidenum">
              <a:rPr lang="en-US" altLang="en-US" sz="1400">
                <a:solidFill>
                  <a:srgbClr val="000000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altLang="en-US" sz="1400" dirty="0">
              <a:solidFill>
                <a:srgbClr val="000000"/>
              </a:solidFill>
            </a:endParaRPr>
          </a:p>
        </p:txBody>
      </p:sp>
      <p:sp>
        <p:nvSpPr>
          <p:cNvPr id="942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421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131861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B09A2F-E230-4EC9-B354-91FB135E8088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89942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B09A2F-E230-4EC9-B354-91FB135E8088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82959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office.msn.com.cn/Template/Home.shtml" TargetMode="External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office.msn.com.cn/Template/Home.shtml" TargetMode="Externa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350" y="-1"/>
            <a:ext cx="12325350" cy="6866809"/>
          </a:xfrm>
          <a:prstGeom prst="rect">
            <a:avLst/>
          </a:prstGeom>
        </p:spPr>
      </p:pic>
      <p:sp>
        <p:nvSpPr>
          <p:cNvPr id="7" name="矩形 1"/>
          <p:cNvSpPr/>
          <p:nvPr userDrawn="1"/>
        </p:nvSpPr>
        <p:spPr>
          <a:xfrm>
            <a:off x="-152399" y="1719016"/>
            <a:ext cx="8458200" cy="1441240"/>
          </a:xfrm>
          <a:custGeom>
            <a:avLst/>
            <a:gdLst>
              <a:gd name="connsiteX0" fmla="*/ 0 w 6819900"/>
              <a:gd name="connsiteY0" fmla="*/ 0 h 1422190"/>
              <a:gd name="connsiteX1" fmla="*/ 6819900 w 6819900"/>
              <a:gd name="connsiteY1" fmla="*/ 0 h 1422190"/>
              <a:gd name="connsiteX2" fmla="*/ 6819900 w 6819900"/>
              <a:gd name="connsiteY2" fmla="*/ 1422190 h 1422190"/>
              <a:gd name="connsiteX3" fmla="*/ 0 w 6819900"/>
              <a:gd name="connsiteY3" fmla="*/ 1422190 h 1422190"/>
              <a:gd name="connsiteX4" fmla="*/ 0 w 6819900"/>
              <a:gd name="connsiteY4" fmla="*/ 0 h 1422190"/>
              <a:gd name="connsiteX0" fmla="*/ 0 w 8458200"/>
              <a:gd name="connsiteY0" fmla="*/ 0 h 1441240"/>
              <a:gd name="connsiteX1" fmla="*/ 6819900 w 8458200"/>
              <a:gd name="connsiteY1" fmla="*/ 0 h 1441240"/>
              <a:gd name="connsiteX2" fmla="*/ 8458200 w 8458200"/>
              <a:gd name="connsiteY2" fmla="*/ 1441240 h 1441240"/>
              <a:gd name="connsiteX3" fmla="*/ 0 w 8458200"/>
              <a:gd name="connsiteY3" fmla="*/ 1422190 h 1441240"/>
              <a:gd name="connsiteX4" fmla="*/ 0 w 8458200"/>
              <a:gd name="connsiteY4" fmla="*/ 0 h 1441240"/>
              <a:gd name="connsiteX0" fmla="*/ 0 w 8458200"/>
              <a:gd name="connsiteY0" fmla="*/ 0 h 1441240"/>
              <a:gd name="connsiteX1" fmla="*/ 6819900 w 8458200"/>
              <a:gd name="connsiteY1" fmla="*/ 342900 h 1441240"/>
              <a:gd name="connsiteX2" fmla="*/ 8458200 w 8458200"/>
              <a:gd name="connsiteY2" fmla="*/ 1441240 h 1441240"/>
              <a:gd name="connsiteX3" fmla="*/ 0 w 8458200"/>
              <a:gd name="connsiteY3" fmla="*/ 1422190 h 1441240"/>
              <a:gd name="connsiteX4" fmla="*/ 0 w 8458200"/>
              <a:gd name="connsiteY4" fmla="*/ 0 h 1441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58200" h="1441240">
                <a:moveTo>
                  <a:pt x="0" y="0"/>
                </a:moveTo>
                <a:lnTo>
                  <a:pt x="6819900" y="342900"/>
                </a:lnTo>
                <a:lnTo>
                  <a:pt x="8458200" y="1441240"/>
                </a:lnTo>
                <a:lnTo>
                  <a:pt x="0" y="142219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kumimoji="1" lang="zh-CN" altLang="en-US">
              <a:solidFill>
                <a:schemeClr val="bg1"/>
              </a:solidFill>
            </a:endParaRPr>
          </a:p>
        </p:txBody>
      </p:sp>
      <p:sp>
        <p:nvSpPr>
          <p:cNvPr id="8" name="矩形 2"/>
          <p:cNvSpPr/>
          <p:nvPr userDrawn="1"/>
        </p:nvSpPr>
        <p:spPr>
          <a:xfrm>
            <a:off x="-152399" y="3141206"/>
            <a:ext cx="5886603" cy="1422190"/>
          </a:xfrm>
          <a:custGeom>
            <a:avLst/>
            <a:gdLst>
              <a:gd name="connsiteX0" fmla="*/ 0 w 5315103"/>
              <a:gd name="connsiteY0" fmla="*/ 0 h 1422190"/>
              <a:gd name="connsiteX1" fmla="*/ 5315103 w 5315103"/>
              <a:gd name="connsiteY1" fmla="*/ 0 h 1422190"/>
              <a:gd name="connsiteX2" fmla="*/ 5315103 w 5315103"/>
              <a:gd name="connsiteY2" fmla="*/ 1422190 h 1422190"/>
              <a:gd name="connsiteX3" fmla="*/ 0 w 5315103"/>
              <a:gd name="connsiteY3" fmla="*/ 1422190 h 1422190"/>
              <a:gd name="connsiteX4" fmla="*/ 0 w 5315103"/>
              <a:gd name="connsiteY4" fmla="*/ 0 h 1422190"/>
              <a:gd name="connsiteX0" fmla="*/ 0 w 5886603"/>
              <a:gd name="connsiteY0" fmla="*/ 19050 h 1441240"/>
              <a:gd name="connsiteX1" fmla="*/ 5886603 w 5886603"/>
              <a:gd name="connsiteY1" fmla="*/ 0 h 1441240"/>
              <a:gd name="connsiteX2" fmla="*/ 5315103 w 5886603"/>
              <a:gd name="connsiteY2" fmla="*/ 1441240 h 1441240"/>
              <a:gd name="connsiteX3" fmla="*/ 0 w 5886603"/>
              <a:gd name="connsiteY3" fmla="*/ 1441240 h 1441240"/>
              <a:gd name="connsiteX4" fmla="*/ 0 w 5886603"/>
              <a:gd name="connsiteY4" fmla="*/ 19050 h 1441240"/>
              <a:gd name="connsiteX0" fmla="*/ 0 w 5886603"/>
              <a:gd name="connsiteY0" fmla="*/ 19050 h 1441240"/>
              <a:gd name="connsiteX1" fmla="*/ 5886603 w 5886603"/>
              <a:gd name="connsiteY1" fmla="*/ 0 h 1441240"/>
              <a:gd name="connsiteX2" fmla="*/ 5124603 w 5886603"/>
              <a:gd name="connsiteY2" fmla="*/ 1307890 h 1441240"/>
              <a:gd name="connsiteX3" fmla="*/ 0 w 5886603"/>
              <a:gd name="connsiteY3" fmla="*/ 1441240 h 1441240"/>
              <a:gd name="connsiteX4" fmla="*/ 0 w 5886603"/>
              <a:gd name="connsiteY4" fmla="*/ 19050 h 1441240"/>
              <a:gd name="connsiteX0" fmla="*/ 0 w 5867553"/>
              <a:gd name="connsiteY0" fmla="*/ 38100 h 1460290"/>
              <a:gd name="connsiteX1" fmla="*/ 5867553 w 5867553"/>
              <a:gd name="connsiteY1" fmla="*/ 0 h 1460290"/>
              <a:gd name="connsiteX2" fmla="*/ 5124603 w 5867553"/>
              <a:gd name="connsiteY2" fmla="*/ 1326940 h 1460290"/>
              <a:gd name="connsiteX3" fmla="*/ 0 w 5867553"/>
              <a:gd name="connsiteY3" fmla="*/ 1460290 h 1460290"/>
              <a:gd name="connsiteX4" fmla="*/ 0 w 5867553"/>
              <a:gd name="connsiteY4" fmla="*/ 38100 h 1460290"/>
              <a:gd name="connsiteX0" fmla="*/ 0 w 5886603"/>
              <a:gd name="connsiteY0" fmla="*/ 0 h 1422190"/>
              <a:gd name="connsiteX1" fmla="*/ 5886603 w 5886603"/>
              <a:gd name="connsiteY1" fmla="*/ 19050 h 1422190"/>
              <a:gd name="connsiteX2" fmla="*/ 5124603 w 5886603"/>
              <a:gd name="connsiteY2" fmla="*/ 1288840 h 1422190"/>
              <a:gd name="connsiteX3" fmla="*/ 0 w 5886603"/>
              <a:gd name="connsiteY3" fmla="*/ 1422190 h 1422190"/>
              <a:gd name="connsiteX4" fmla="*/ 0 w 5886603"/>
              <a:gd name="connsiteY4" fmla="*/ 0 h 1422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6603" h="1422190">
                <a:moveTo>
                  <a:pt x="0" y="0"/>
                </a:moveTo>
                <a:lnTo>
                  <a:pt x="5886603" y="19050"/>
                </a:lnTo>
                <a:lnTo>
                  <a:pt x="5124603" y="1288840"/>
                </a:lnTo>
                <a:lnTo>
                  <a:pt x="0" y="142219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kumimoji="1" lang="zh-CN" alt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7297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spcBef>
                <a:spcPct val="0"/>
              </a:spcBef>
              <a:defRPr sz="800"/>
            </a:lvl1pPr>
          </a:lstStyle>
          <a:p>
            <a:pPr>
              <a:spcBef>
                <a:spcPct val="50000"/>
              </a:spcBef>
              <a:defRPr/>
            </a:pPr>
            <a:endParaRPr lang="en-US" dirty="0"/>
          </a:p>
          <a:p>
            <a:pPr>
              <a:defRPr/>
            </a:pPr>
            <a:fld id="{DACE6872-0AD7-46AA-93CA-96D80A141400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35056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spcBef>
                <a:spcPct val="0"/>
              </a:spcBef>
              <a:defRPr sz="800"/>
            </a:lvl1pPr>
          </a:lstStyle>
          <a:p>
            <a:pPr>
              <a:spcBef>
                <a:spcPct val="50000"/>
              </a:spcBef>
              <a:defRPr/>
            </a:pPr>
            <a:endParaRPr lang="en-US" dirty="0"/>
          </a:p>
          <a:p>
            <a:pPr>
              <a:defRPr/>
            </a:pPr>
            <a:fld id="{D1B39558-C603-4154-B3C9-F7E178302BC2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1263868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71601"/>
            <a:ext cx="538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71601"/>
            <a:ext cx="5384800" cy="4754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0"/>
              </a:spcBef>
              <a:defRPr sz="800"/>
            </a:lvl1pPr>
          </a:lstStyle>
          <a:p>
            <a:pPr>
              <a:spcBef>
                <a:spcPct val="50000"/>
              </a:spcBef>
              <a:defRPr/>
            </a:pPr>
            <a:endParaRPr lang="en-US" dirty="0"/>
          </a:p>
          <a:p>
            <a:pPr>
              <a:defRPr/>
            </a:pPr>
            <a:fld id="{220A3C85-A83D-4B53-ACFA-58FAE312B012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>
          <a:xfrm>
            <a:off x="609600" y="6278563"/>
            <a:ext cx="28448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July 28, 2011</a:t>
            </a:r>
          </a:p>
          <a:p>
            <a:pPr>
              <a:defRPr/>
            </a:pPr>
            <a:r>
              <a:rPr lang="en-US" dirty="0"/>
              <a:t>Blockchain Technology</a:t>
            </a:r>
          </a:p>
        </p:txBody>
      </p:sp>
    </p:spTree>
    <p:extLst>
      <p:ext uri="{BB962C8B-B14F-4D97-AF65-F5344CB8AC3E}">
        <p14:creationId xmlns:p14="http://schemas.microsoft.com/office/powerpoint/2010/main" val="36680188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spcBef>
                <a:spcPct val="0"/>
              </a:spcBef>
              <a:defRPr sz="800"/>
            </a:lvl1pPr>
          </a:lstStyle>
          <a:p>
            <a:pPr>
              <a:spcBef>
                <a:spcPct val="50000"/>
              </a:spcBef>
              <a:defRPr/>
            </a:pPr>
            <a:endParaRPr lang="en-US" dirty="0"/>
          </a:p>
          <a:p>
            <a:pPr>
              <a:defRPr/>
            </a:pPr>
            <a:fld id="{2D698C6E-8BE5-4184-A425-D2C36B20CD56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7915826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0"/>
              </a:spcBef>
              <a:defRPr sz="800"/>
            </a:lvl1pPr>
          </a:lstStyle>
          <a:p>
            <a:pPr>
              <a:spcBef>
                <a:spcPct val="50000"/>
              </a:spcBef>
              <a:defRPr/>
            </a:pPr>
            <a:endParaRPr lang="en-US" dirty="0"/>
          </a:p>
          <a:p>
            <a:pPr>
              <a:defRPr/>
            </a:pPr>
            <a:fld id="{1B5352B1-2538-4699-B878-16B52FEBD804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609600" y="6278563"/>
            <a:ext cx="28448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July 28, 2011</a:t>
            </a:r>
          </a:p>
          <a:p>
            <a:pPr>
              <a:defRPr/>
            </a:pPr>
            <a:r>
              <a:rPr lang="en-US" dirty="0"/>
              <a:t>Blockchain Technology</a:t>
            </a:r>
          </a:p>
        </p:txBody>
      </p:sp>
    </p:spTree>
    <p:extLst>
      <p:ext uri="{BB962C8B-B14F-4D97-AF65-F5344CB8AC3E}">
        <p14:creationId xmlns:p14="http://schemas.microsoft.com/office/powerpoint/2010/main" val="32507549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0"/>
              </a:spcBef>
              <a:defRPr sz="800"/>
            </a:lvl1pPr>
          </a:lstStyle>
          <a:p>
            <a:pPr>
              <a:spcBef>
                <a:spcPct val="50000"/>
              </a:spcBef>
              <a:defRPr/>
            </a:pPr>
            <a:endParaRPr lang="en-US" dirty="0"/>
          </a:p>
          <a:p>
            <a:pPr>
              <a:defRPr/>
            </a:pPr>
            <a:fld id="{8B352477-7916-49ED-A229-A6A177D8CF37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>
          <a:xfrm>
            <a:off x="609600" y="6278563"/>
            <a:ext cx="28448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July 28, 2011</a:t>
            </a:r>
          </a:p>
          <a:p>
            <a:pPr>
              <a:defRPr/>
            </a:pPr>
            <a:r>
              <a:rPr lang="en-US" dirty="0"/>
              <a:t>Blockchain Technology</a:t>
            </a:r>
          </a:p>
        </p:txBody>
      </p:sp>
    </p:spTree>
    <p:extLst>
      <p:ext uri="{BB962C8B-B14F-4D97-AF65-F5344CB8AC3E}">
        <p14:creationId xmlns:p14="http://schemas.microsoft.com/office/powerpoint/2010/main" val="34854786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0"/>
              </a:spcBef>
              <a:defRPr sz="800"/>
            </a:lvl1pPr>
          </a:lstStyle>
          <a:p>
            <a:pPr>
              <a:spcBef>
                <a:spcPct val="50000"/>
              </a:spcBef>
              <a:defRPr/>
            </a:pPr>
            <a:endParaRPr lang="en-US" dirty="0"/>
          </a:p>
          <a:p>
            <a:pPr>
              <a:defRPr/>
            </a:pPr>
            <a:fld id="{AB2C69AD-223A-40F1-AC1B-7ACFF86EDEC3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>
          <a:xfrm>
            <a:off x="609600" y="6278563"/>
            <a:ext cx="28448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July 28, 2011</a:t>
            </a:r>
          </a:p>
          <a:p>
            <a:pPr>
              <a:defRPr/>
            </a:pPr>
            <a:r>
              <a:rPr lang="en-US" dirty="0"/>
              <a:t>Blockchain Technology</a:t>
            </a:r>
          </a:p>
        </p:txBody>
      </p:sp>
    </p:spTree>
    <p:extLst>
      <p:ext uri="{BB962C8B-B14F-4D97-AF65-F5344CB8AC3E}">
        <p14:creationId xmlns:p14="http://schemas.microsoft.com/office/powerpoint/2010/main" val="38862278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0"/>
              </a:spcBef>
              <a:defRPr sz="800"/>
            </a:lvl1pPr>
          </a:lstStyle>
          <a:p>
            <a:pPr>
              <a:spcBef>
                <a:spcPct val="50000"/>
              </a:spcBef>
              <a:defRPr/>
            </a:pPr>
            <a:endParaRPr lang="en-US" dirty="0"/>
          </a:p>
          <a:p>
            <a:pPr>
              <a:defRPr/>
            </a:pPr>
            <a:fld id="{A1335322-580A-4C6B-B4E9-9F5BD93FB83C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>
          <a:xfrm>
            <a:off x="609600" y="6278563"/>
            <a:ext cx="28448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July 28, 2011</a:t>
            </a:r>
          </a:p>
          <a:p>
            <a:pPr>
              <a:defRPr/>
            </a:pPr>
            <a:r>
              <a:rPr lang="en-US" dirty="0"/>
              <a:t>Blockchain Technology</a:t>
            </a:r>
          </a:p>
        </p:txBody>
      </p:sp>
    </p:spTree>
    <p:extLst>
      <p:ext uri="{BB962C8B-B14F-4D97-AF65-F5344CB8AC3E}">
        <p14:creationId xmlns:p14="http://schemas.microsoft.com/office/powerpoint/2010/main" val="631210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0"/>
              </a:spcBef>
              <a:defRPr sz="800"/>
            </a:lvl1pPr>
          </a:lstStyle>
          <a:p>
            <a:pPr>
              <a:spcBef>
                <a:spcPct val="50000"/>
              </a:spcBef>
              <a:defRPr/>
            </a:pPr>
            <a:endParaRPr lang="en-US" dirty="0"/>
          </a:p>
          <a:p>
            <a:pPr>
              <a:defRPr/>
            </a:pPr>
            <a:fld id="{DC9F6BF0-DFA5-426E-953C-4CD371C66636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609600" y="6278563"/>
            <a:ext cx="28448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July 28, 2011</a:t>
            </a:r>
          </a:p>
          <a:p>
            <a:pPr>
              <a:defRPr/>
            </a:pPr>
            <a:r>
              <a:rPr lang="en-US" dirty="0"/>
              <a:t>Blockchain Technology</a:t>
            </a:r>
          </a:p>
        </p:txBody>
      </p:sp>
    </p:spTree>
    <p:extLst>
      <p:ext uri="{BB962C8B-B14F-4D97-AF65-F5344CB8AC3E}">
        <p14:creationId xmlns:p14="http://schemas.microsoft.com/office/powerpoint/2010/main" val="20745628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0"/>
              </a:spcBef>
              <a:defRPr sz="800"/>
            </a:lvl1pPr>
          </a:lstStyle>
          <a:p>
            <a:pPr>
              <a:spcBef>
                <a:spcPct val="50000"/>
              </a:spcBef>
              <a:defRPr/>
            </a:pPr>
            <a:endParaRPr lang="en-US" dirty="0"/>
          </a:p>
          <a:p>
            <a:pPr>
              <a:defRPr/>
            </a:pPr>
            <a:fld id="{6986DD07-69EB-461C-A612-0FE954E24374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609600" y="6278563"/>
            <a:ext cx="28448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July 28, 2011</a:t>
            </a:r>
          </a:p>
          <a:p>
            <a:pPr>
              <a:defRPr/>
            </a:pPr>
            <a:r>
              <a:rPr lang="en-US" dirty="0"/>
              <a:t>Blockchain Technology</a:t>
            </a:r>
          </a:p>
        </p:txBody>
      </p:sp>
    </p:spTree>
    <p:extLst>
      <p:ext uri="{BB962C8B-B14F-4D97-AF65-F5344CB8AC3E}">
        <p14:creationId xmlns:p14="http://schemas.microsoft.com/office/powerpoint/2010/main" val="9818476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350" y="-1"/>
            <a:ext cx="12325350" cy="6866809"/>
          </a:xfrm>
          <a:prstGeom prst="rect">
            <a:avLst/>
          </a:prstGeom>
        </p:spPr>
      </p:pic>
      <p:cxnSp>
        <p:nvCxnSpPr>
          <p:cNvPr id="3" name="直接连接符 2"/>
          <p:cNvCxnSpPr/>
          <p:nvPr userDrawn="1"/>
        </p:nvCxnSpPr>
        <p:spPr>
          <a:xfrm>
            <a:off x="-1257300" y="762000"/>
            <a:ext cx="5086350" cy="0"/>
          </a:xfrm>
          <a:prstGeom prst="line">
            <a:avLst/>
          </a:prstGeom>
          <a:ln>
            <a:solidFill>
              <a:schemeClr val="bg1"/>
            </a:solidFill>
            <a:tailEnd type="oval" w="lg" len="lg"/>
          </a:ln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直接连接符 3"/>
          <p:cNvCxnSpPr/>
          <p:nvPr userDrawn="1"/>
        </p:nvCxnSpPr>
        <p:spPr>
          <a:xfrm flipH="1">
            <a:off x="8343900" y="762000"/>
            <a:ext cx="5086350" cy="0"/>
          </a:xfrm>
          <a:prstGeom prst="line">
            <a:avLst/>
          </a:prstGeom>
          <a:ln>
            <a:solidFill>
              <a:schemeClr val="bg1"/>
            </a:solidFill>
            <a:tailEnd type="oval" w="lg" len="lg"/>
          </a:ln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4568248" y="477910"/>
            <a:ext cx="3213677" cy="5681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</a:p>
        </p:txBody>
      </p:sp>
    </p:spTree>
    <p:extLst>
      <p:ext uri="{BB962C8B-B14F-4D97-AF65-F5344CB8AC3E}">
        <p14:creationId xmlns:p14="http://schemas.microsoft.com/office/powerpoint/2010/main" val="35381032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68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0" y="1371601"/>
            <a:ext cx="5384800" cy="4754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371600"/>
            <a:ext cx="5384800" cy="2300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97600" y="3824289"/>
            <a:ext cx="5384800" cy="2301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spcBef>
                <a:spcPct val="0"/>
              </a:spcBef>
              <a:defRPr sz="800"/>
            </a:lvl1pPr>
          </a:lstStyle>
          <a:p>
            <a:pPr>
              <a:spcBef>
                <a:spcPct val="50000"/>
              </a:spcBef>
              <a:defRPr/>
            </a:pPr>
            <a:endParaRPr lang="en-US" dirty="0"/>
          </a:p>
          <a:p>
            <a:pPr>
              <a:defRPr/>
            </a:pPr>
            <a:fld id="{EDC5B608-3626-4F14-8F5E-B4D9C146179B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9861057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68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0" y="1371601"/>
            <a:ext cx="5384800" cy="4754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71601"/>
            <a:ext cx="5384800" cy="4754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spcBef>
                <a:spcPct val="0"/>
              </a:spcBef>
              <a:defRPr sz="800"/>
            </a:lvl1pPr>
          </a:lstStyle>
          <a:p>
            <a:pPr>
              <a:spcBef>
                <a:spcPct val="50000"/>
              </a:spcBef>
              <a:defRPr/>
            </a:pPr>
            <a:endParaRPr lang="en-US" dirty="0"/>
          </a:p>
          <a:p>
            <a:pPr>
              <a:defRPr/>
            </a:pPr>
            <a:fld id="{4CE69C62-DF2B-495E-B25B-7257B7FFDF1C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0215880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8"/>
          <p:cNvSpPr txBox="1">
            <a:spLocks noChangeArrowheads="1"/>
          </p:cNvSpPr>
          <p:nvPr userDrawn="1"/>
        </p:nvSpPr>
        <p:spPr bwMode="auto">
          <a:xfrm>
            <a:off x="351722" y="6343650"/>
            <a:ext cx="149592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00" dirty="0">
                <a:solidFill>
                  <a:schemeClr val="bg1"/>
                </a:solidFill>
              </a:rPr>
              <a:t>October 27, 2011</a:t>
            </a:r>
          </a:p>
          <a:p>
            <a:pPr eaLnBrk="1" hangingPunct="1">
              <a:defRPr/>
            </a:pPr>
            <a:r>
              <a:rPr lang="en-US" sz="1000" dirty="0">
                <a:solidFill>
                  <a:schemeClr val="bg1"/>
                </a:solidFill>
              </a:rPr>
              <a:t>Blockchain Technolog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68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371601"/>
            <a:ext cx="10972800" cy="4754563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0"/>
              </a:spcBef>
              <a:defRPr sz="800"/>
            </a:lvl1pPr>
          </a:lstStyle>
          <a:p>
            <a:pPr>
              <a:spcBef>
                <a:spcPct val="50000"/>
              </a:spcBef>
              <a:defRPr/>
            </a:pPr>
            <a:endParaRPr lang="en-US" dirty="0"/>
          </a:p>
          <a:p>
            <a:pPr>
              <a:defRPr/>
            </a:pPr>
            <a:fld id="{D596002E-8F80-4E0F-BF22-35D34BDAFF7F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1484199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71601"/>
            <a:ext cx="5384800" cy="4754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371600"/>
            <a:ext cx="5384800" cy="2300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97600" y="3824289"/>
            <a:ext cx="5384800" cy="2301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spcBef>
                <a:spcPct val="0"/>
              </a:spcBef>
              <a:defRPr sz="800"/>
            </a:lvl1pPr>
          </a:lstStyle>
          <a:p>
            <a:pPr>
              <a:spcBef>
                <a:spcPct val="50000"/>
              </a:spcBef>
              <a:defRPr/>
            </a:pPr>
            <a:endParaRPr lang="en-US" dirty="0"/>
          </a:p>
          <a:p>
            <a:pPr>
              <a:defRPr/>
            </a:pPr>
            <a:fld id="{FC639D19-8BF4-4FAB-9C39-9A4695624743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8628755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350" y="-1"/>
            <a:ext cx="12325350" cy="6866809"/>
          </a:xfrm>
          <a:prstGeom prst="rect">
            <a:avLst/>
          </a:prstGeom>
        </p:spPr>
      </p:pic>
      <p:sp>
        <p:nvSpPr>
          <p:cNvPr id="7" name="矩形 1"/>
          <p:cNvSpPr/>
          <p:nvPr userDrawn="1"/>
        </p:nvSpPr>
        <p:spPr>
          <a:xfrm>
            <a:off x="-152399" y="1719016"/>
            <a:ext cx="8458200" cy="1441240"/>
          </a:xfrm>
          <a:custGeom>
            <a:avLst/>
            <a:gdLst>
              <a:gd name="connsiteX0" fmla="*/ 0 w 6819900"/>
              <a:gd name="connsiteY0" fmla="*/ 0 h 1422190"/>
              <a:gd name="connsiteX1" fmla="*/ 6819900 w 6819900"/>
              <a:gd name="connsiteY1" fmla="*/ 0 h 1422190"/>
              <a:gd name="connsiteX2" fmla="*/ 6819900 w 6819900"/>
              <a:gd name="connsiteY2" fmla="*/ 1422190 h 1422190"/>
              <a:gd name="connsiteX3" fmla="*/ 0 w 6819900"/>
              <a:gd name="connsiteY3" fmla="*/ 1422190 h 1422190"/>
              <a:gd name="connsiteX4" fmla="*/ 0 w 6819900"/>
              <a:gd name="connsiteY4" fmla="*/ 0 h 1422190"/>
              <a:gd name="connsiteX0" fmla="*/ 0 w 8458200"/>
              <a:gd name="connsiteY0" fmla="*/ 0 h 1441240"/>
              <a:gd name="connsiteX1" fmla="*/ 6819900 w 8458200"/>
              <a:gd name="connsiteY1" fmla="*/ 0 h 1441240"/>
              <a:gd name="connsiteX2" fmla="*/ 8458200 w 8458200"/>
              <a:gd name="connsiteY2" fmla="*/ 1441240 h 1441240"/>
              <a:gd name="connsiteX3" fmla="*/ 0 w 8458200"/>
              <a:gd name="connsiteY3" fmla="*/ 1422190 h 1441240"/>
              <a:gd name="connsiteX4" fmla="*/ 0 w 8458200"/>
              <a:gd name="connsiteY4" fmla="*/ 0 h 1441240"/>
              <a:gd name="connsiteX0" fmla="*/ 0 w 8458200"/>
              <a:gd name="connsiteY0" fmla="*/ 0 h 1441240"/>
              <a:gd name="connsiteX1" fmla="*/ 6819900 w 8458200"/>
              <a:gd name="connsiteY1" fmla="*/ 342900 h 1441240"/>
              <a:gd name="connsiteX2" fmla="*/ 8458200 w 8458200"/>
              <a:gd name="connsiteY2" fmla="*/ 1441240 h 1441240"/>
              <a:gd name="connsiteX3" fmla="*/ 0 w 8458200"/>
              <a:gd name="connsiteY3" fmla="*/ 1422190 h 1441240"/>
              <a:gd name="connsiteX4" fmla="*/ 0 w 8458200"/>
              <a:gd name="connsiteY4" fmla="*/ 0 h 1441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58200" h="1441240">
                <a:moveTo>
                  <a:pt x="0" y="0"/>
                </a:moveTo>
                <a:lnTo>
                  <a:pt x="6819900" y="342900"/>
                </a:lnTo>
                <a:lnTo>
                  <a:pt x="8458200" y="1441240"/>
                </a:lnTo>
                <a:lnTo>
                  <a:pt x="0" y="142219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kumimoji="1" lang="zh-CN" altLang="en-US">
              <a:solidFill>
                <a:schemeClr val="bg1"/>
              </a:solidFill>
            </a:endParaRPr>
          </a:p>
        </p:txBody>
      </p:sp>
      <p:sp>
        <p:nvSpPr>
          <p:cNvPr id="8" name="矩形 2"/>
          <p:cNvSpPr/>
          <p:nvPr userDrawn="1"/>
        </p:nvSpPr>
        <p:spPr>
          <a:xfrm>
            <a:off x="-152399" y="3141206"/>
            <a:ext cx="5886603" cy="1422190"/>
          </a:xfrm>
          <a:custGeom>
            <a:avLst/>
            <a:gdLst>
              <a:gd name="connsiteX0" fmla="*/ 0 w 5315103"/>
              <a:gd name="connsiteY0" fmla="*/ 0 h 1422190"/>
              <a:gd name="connsiteX1" fmla="*/ 5315103 w 5315103"/>
              <a:gd name="connsiteY1" fmla="*/ 0 h 1422190"/>
              <a:gd name="connsiteX2" fmla="*/ 5315103 w 5315103"/>
              <a:gd name="connsiteY2" fmla="*/ 1422190 h 1422190"/>
              <a:gd name="connsiteX3" fmla="*/ 0 w 5315103"/>
              <a:gd name="connsiteY3" fmla="*/ 1422190 h 1422190"/>
              <a:gd name="connsiteX4" fmla="*/ 0 w 5315103"/>
              <a:gd name="connsiteY4" fmla="*/ 0 h 1422190"/>
              <a:gd name="connsiteX0" fmla="*/ 0 w 5886603"/>
              <a:gd name="connsiteY0" fmla="*/ 19050 h 1441240"/>
              <a:gd name="connsiteX1" fmla="*/ 5886603 w 5886603"/>
              <a:gd name="connsiteY1" fmla="*/ 0 h 1441240"/>
              <a:gd name="connsiteX2" fmla="*/ 5315103 w 5886603"/>
              <a:gd name="connsiteY2" fmla="*/ 1441240 h 1441240"/>
              <a:gd name="connsiteX3" fmla="*/ 0 w 5886603"/>
              <a:gd name="connsiteY3" fmla="*/ 1441240 h 1441240"/>
              <a:gd name="connsiteX4" fmla="*/ 0 w 5886603"/>
              <a:gd name="connsiteY4" fmla="*/ 19050 h 1441240"/>
              <a:gd name="connsiteX0" fmla="*/ 0 w 5886603"/>
              <a:gd name="connsiteY0" fmla="*/ 19050 h 1441240"/>
              <a:gd name="connsiteX1" fmla="*/ 5886603 w 5886603"/>
              <a:gd name="connsiteY1" fmla="*/ 0 h 1441240"/>
              <a:gd name="connsiteX2" fmla="*/ 5124603 w 5886603"/>
              <a:gd name="connsiteY2" fmla="*/ 1307890 h 1441240"/>
              <a:gd name="connsiteX3" fmla="*/ 0 w 5886603"/>
              <a:gd name="connsiteY3" fmla="*/ 1441240 h 1441240"/>
              <a:gd name="connsiteX4" fmla="*/ 0 w 5886603"/>
              <a:gd name="connsiteY4" fmla="*/ 19050 h 1441240"/>
              <a:gd name="connsiteX0" fmla="*/ 0 w 5867553"/>
              <a:gd name="connsiteY0" fmla="*/ 38100 h 1460290"/>
              <a:gd name="connsiteX1" fmla="*/ 5867553 w 5867553"/>
              <a:gd name="connsiteY1" fmla="*/ 0 h 1460290"/>
              <a:gd name="connsiteX2" fmla="*/ 5124603 w 5867553"/>
              <a:gd name="connsiteY2" fmla="*/ 1326940 h 1460290"/>
              <a:gd name="connsiteX3" fmla="*/ 0 w 5867553"/>
              <a:gd name="connsiteY3" fmla="*/ 1460290 h 1460290"/>
              <a:gd name="connsiteX4" fmla="*/ 0 w 5867553"/>
              <a:gd name="connsiteY4" fmla="*/ 38100 h 1460290"/>
              <a:gd name="connsiteX0" fmla="*/ 0 w 5886603"/>
              <a:gd name="connsiteY0" fmla="*/ 0 h 1422190"/>
              <a:gd name="connsiteX1" fmla="*/ 5886603 w 5886603"/>
              <a:gd name="connsiteY1" fmla="*/ 19050 h 1422190"/>
              <a:gd name="connsiteX2" fmla="*/ 5124603 w 5886603"/>
              <a:gd name="connsiteY2" fmla="*/ 1288840 h 1422190"/>
              <a:gd name="connsiteX3" fmla="*/ 0 w 5886603"/>
              <a:gd name="connsiteY3" fmla="*/ 1422190 h 1422190"/>
              <a:gd name="connsiteX4" fmla="*/ 0 w 5886603"/>
              <a:gd name="connsiteY4" fmla="*/ 0 h 1422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6603" h="1422190">
                <a:moveTo>
                  <a:pt x="0" y="0"/>
                </a:moveTo>
                <a:lnTo>
                  <a:pt x="5886603" y="19050"/>
                </a:lnTo>
                <a:lnTo>
                  <a:pt x="5124603" y="1288840"/>
                </a:lnTo>
                <a:lnTo>
                  <a:pt x="0" y="142219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kumimoji="1" lang="zh-CN" alt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5899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350" y="-1"/>
            <a:ext cx="12325350" cy="6866809"/>
          </a:xfrm>
          <a:prstGeom prst="rect">
            <a:avLst/>
          </a:prstGeom>
        </p:spPr>
      </p:pic>
      <p:cxnSp>
        <p:nvCxnSpPr>
          <p:cNvPr id="3" name="直接连接符 2"/>
          <p:cNvCxnSpPr/>
          <p:nvPr userDrawn="1"/>
        </p:nvCxnSpPr>
        <p:spPr>
          <a:xfrm>
            <a:off x="-1257300" y="762000"/>
            <a:ext cx="5086350" cy="0"/>
          </a:xfrm>
          <a:prstGeom prst="line">
            <a:avLst/>
          </a:prstGeom>
          <a:ln>
            <a:solidFill>
              <a:schemeClr val="bg1"/>
            </a:solidFill>
            <a:tailEnd type="oval" w="lg" len="lg"/>
          </a:ln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直接连接符 3"/>
          <p:cNvCxnSpPr/>
          <p:nvPr userDrawn="1"/>
        </p:nvCxnSpPr>
        <p:spPr>
          <a:xfrm flipH="1">
            <a:off x="8343900" y="762000"/>
            <a:ext cx="5086350" cy="0"/>
          </a:xfrm>
          <a:prstGeom prst="line">
            <a:avLst/>
          </a:prstGeom>
          <a:ln>
            <a:solidFill>
              <a:schemeClr val="bg1"/>
            </a:solidFill>
            <a:tailEnd type="oval" w="lg" len="lg"/>
          </a:ln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4568248" y="477910"/>
            <a:ext cx="3213677" cy="5681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</a:p>
        </p:txBody>
      </p:sp>
    </p:spTree>
    <p:extLst>
      <p:ext uri="{BB962C8B-B14F-4D97-AF65-F5344CB8AC3E}">
        <p14:creationId xmlns:p14="http://schemas.microsoft.com/office/powerpoint/2010/main" val="2661365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350" y="-1"/>
            <a:ext cx="12325350" cy="6866809"/>
          </a:xfrm>
          <a:prstGeom prst="rect">
            <a:avLst/>
          </a:prstGeom>
        </p:spPr>
      </p:pic>
      <p:sp>
        <p:nvSpPr>
          <p:cNvPr id="7" name="等腰三角形 6"/>
          <p:cNvSpPr/>
          <p:nvPr userDrawn="1"/>
        </p:nvSpPr>
        <p:spPr>
          <a:xfrm rot="5400000">
            <a:off x="-881063" y="738187"/>
            <a:ext cx="6858000" cy="5381625"/>
          </a:xfrm>
          <a:prstGeom prst="triangle">
            <a:avLst/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等腰三角形 7"/>
          <p:cNvSpPr/>
          <p:nvPr userDrawn="1"/>
        </p:nvSpPr>
        <p:spPr>
          <a:xfrm rot="5400000">
            <a:off x="-1624013" y="738186"/>
            <a:ext cx="6858000" cy="5381625"/>
          </a:xfrm>
          <a:prstGeom prst="triangle">
            <a:avLst/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76084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片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350" y="-1"/>
            <a:ext cx="12325350" cy="6866809"/>
          </a:xfrm>
          <a:prstGeom prst="rect">
            <a:avLst/>
          </a:prstGeom>
        </p:spPr>
      </p:pic>
      <p:grpSp>
        <p:nvGrpSpPr>
          <p:cNvPr id="8" name="组合 7"/>
          <p:cNvGrpSpPr/>
          <p:nvPr userDrawn="1"/>
        </p:nvGrpSpPr>
        <p:grpSpPr>
          <a:xfrm rot="5400000">
            <a:off x="904873" y="-1990273"/>
            <a:ext cx="6124575" cy="6858001"/>
            <a:chOff x="-885826" y="-1"/>
            <a:chExt cx="6124575" cy="6858001"/>
          </a:xfrm>
        </p:grpSpPr>
        <p:sp>
          <p:nvSpPr>
            <p:cNvPr id="9" name="等腰三角形 8"/>
            <p:cNvSpPr/>
            <p:nvPr/>
          </p:nvSpPr>
          <p:spPr>
            <a:xfrm rot="5400000">
              <a:off x="-881063" y="738187"/>
              <a:ext cx="6858000" cy="5381625"/>
            </a:xfrm>
            <a:prstGeom prst="triangle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等腰三角形 9"/>
            <p:cNvSpPr/>
            <p:nvPr/>
          </p:nvSpPr>
          <p:spPr>
            <a:xfrm rot="5400000">
              <a:off x="-1624013" y="738186"/>
              <a:ext cx="6858000" cy="5381625"/>
            </a:xfrm>
            <a:prstGeom prst="triangle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" name="组合 10"/>
          <p:cNvGrpSpPr/>
          <p:nvPr userDrawn="1"/>
        </p:nvGrpSpPr>
        <p:grpSpPr>
          <a:xfrm rot="16200000">
            <a:off x="904874" y="1215512"/>
            <a:ext cx="6124575" cy="6858001"/>
            <a:chOff x="-885826" y="-1"/>
            <a:chExt cx="6124575" cy="6858001"/>
          </a:xfrm>
        </p:grpSpPr>
        <p:sp>
          <p:nvSpPr>
            <p:cNvPr id="12" name="等腰三角形 11"/>
            <p:cNvSpPr/>
            <p:nvPr/>
          </p:nvSpPr>
          <p:spPr>
            <a:xfrm rot="5400000">
              <a:off x="-881063" y="738187"/>
              <a:ext cx="6858000" cy="5381625"/>
            </a:xfrm>
            <a:prstGeom prst="triangle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等腰三角形 12"/>
            <p:cNvSpPr/>
            <p:nvPr/>
          </p:nvSpPr>
          <p:spPr>
            <a:xfrm rot="5400000">
              <a:off x="-1624013" y="738186"/>
              <a:ext cx="6858000" cy="5381625"/>
            </a:xfrm>
            <a:prstGeom prst="triangle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0013774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350" y="-1"/>
            <a:ext cx="12325350" cy="6866809"/>
          </a:xfrm>
          <a:prstGeom prst="rect">
            <a:avLst/>
          </a:prstGeom>
        </p:spPr>
      </p:pic>
      <p:cxnSp>
        <p:nvCxnSpPr>
          <p:cNvPr id="10" name="直接连接符 9"/>
          <p:cNvCxnSpPr/>
          <p:nvPr userDrawn="1"/>
        </p:nvCxnSpPr>
        <p:spPr>
          <a:xfrm>
            <a:off x="-1257300" y="762000"/>
            <a:ext cx="5086350" cy="0"/>
          </a:xfrm>
          <a:prstGeom prst="line">
            <a:avLst/>
          </a:prstGeom>
          <a:ln>
            <a:solidFill>
              <a:schemeClr val="bg1"/>
            </a:solidFill>
            <a:tailEnd type="oval" w="lg" len="lg"/>
          </a:ln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 flipH="1">
            <a:off x="8343900" y="762000"/>
            <a:ext cx="5086350" cy="0"/>
          </a:xfrm>
          <a:prstGeom prst="line">
            <a:avLst/>
          </a:prstGeom>
          <a:ln>
            <a:solidFill>
              <a:schemeClr val="bg1"/>
            </a:solidFill>
            <a:tailEnd type="oval" w="lg" len="lg"/>
          </a:ln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2784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350" y="-1"/>
            <a:ext cx="12325350" cy="6866809"/>
          </a:xfrm>
          <a:prstGeom prst="rect">
            <a:avLst/>
          </a:prstGeom>
        </p:spPr>
      </p:pic>
      <p:sp>
        <p:nvSpPr>
          <p:cNvPr id="6" name="矩形 1"/>
          <p:cNvSpPr/>
          <p:nvPr userDrawn="1"/>
        </p:nvSpPr>
        <p:spPr>
          <a:xfrm>
            <a:off x="2266950" y="2076450"/>
            <a:ext cx="7647842" cy="2266950"/>
          </a:xfrm>
          <a:custGeom>
            <a:avLst/>
            <a:gdLst>
              <a:gd name="connsiteX0" fmla="*/ 0 w 4819650"/>
              <a:gd name="connsiteY0" fmla="*/ 0 h 1885950"/>
              <a:gd name="connsiteX1" fmla="*/ 4819650 w 4819650"/>
              <a:gd name="connsiteY1" fmla="*/ 0 h 1885950"/>
              <a:gd name="connsiteX2" fmla="*/ 4819650 w 4819650"/>
              <a:gd name="connsiteY2" fmla="*/ 1885950 h 1885950"/>
              <a:gd name="connsiteX3" fmla="*/ 0 w 4819650"/>
              <a:gd name="connsiteY3" fmla="*/ 1885950 h 1885950"/>
              <a:gd name="connsiteX4" fmla="*/ 0 w 4819650"/>
              <a:gd name="connsiteY4" fmla="*/ 0 h 1885950"/>
              <a:gd name="connsiteX0" fmla="*/ 0 w 5295900"/>
              <a:gd name="connsiteY0" fmla="*/ 0 h 1885950"/>
              <a:gd name="connsiteX1" fmla="*/ 5295900 w 5295900"/>
              <a:gd name="connsiteY1" fmla="*/ 304800 h 1885950"/>
              <a:gd name="connsiteX2" fmla="*/ 4819650 w 5295900"/>
              <a:gd name="connsiteY2" fmla="*/ 1885950 h 1885950"/>
              <a:gd name="connsiteX3" fmla="*/ 0 w 5295900"/>
              <a:gd name="connsiteY3" fmla="*/ 1885950 h 1885950"/>
              <a:gd name="connsiteX4" fmla="*/ 0 w 5295900"/>
              <a:gd name="connsiteY4" fmla="*/ 0 h 1885950"/>
              <a:gd name="connsiteX0" fmla="*/ 0 w 5295900"/>
              <a:gd name="connsiteY0" fmla="*/ 0 h 1885950"/>
              <a:gd name="connsiteX1" fmla="*/ 5295900 w 5295900"/>
              <a:gd name="connsiteY1" fmla="*/ 304800 h 1885950"/>
              <a:gd name="connsiteX2" fmla="*/ 4724400 w 5295900"/>
              <a:gd name="connsiteY2" fmla="*/ 1638300 h 1885950"/>
              <a:gd name="connsiteX3" fmla="*/ 0 w 5295900"/>
              <a:gd name="connsiteY3" fmla="*/ 1885950 h 1885950"/>
              <a:gd name="connsiteX4" fmla="*/ 0 w 5295900"/>
              <a:gd name="connsiteY4" fmla="*/ 0 h 1885950"/>
              <a:gd name="connsiteX0" fmla="*/ 609600 w 5905500"/>
              <a:gd name="connsiteY0" fmla="*/ 0 h 2400300"/>
              <a:gd name="connsiteX1" fmla="*/ 5905500 w 5905500"/>
              <a:gd name="connsiteY1" fmla="*/ 304800 h 2400300"/>
              <a:gd name="connsiteX2" fmla="*/ 5334000 w 5905500"/>
              <a:gd name="connsiteY2" fmla="*/ 1638300 h 2400300"/>
              <a:gd name="connsiteX3" fmla="*/ 0 w 5905500"/>
              <a:gd name="connsiteY3" fmla="*/ 2400300 h 2400300"/>
              <a:gd name="connsiteX4" fmla="*/ 609600 w 5905500"/>
              <a:gd name="connsiteY4" fmla="*/ 0 h 2400300"/>
              <a:gd name="connsiteX0" fmla="*/ 895350 w 5905500"/>
              <a:gd name="connsiteY0" fmla="*/ 247650 h 2095500"/>
              <a:gd name="connsiteX1" fmla="*/ 5905500 w 5905500"/>
              <a:gd name="connsiteY1" fmla="*/ 0 h 2095500"/>
              <a:gd name="connsiteX2" fmla="*/ 5334000 w 5905500"/>
              <a:gd name="connsiteY2" fmla="*/ 1333500 h 2095500"/>
              <a:gd name="connsiteX3" fmla="*/ 0 w 5905500"/>
              <a:gd name="connsiteY3" fmla="*/ 2095500 h 2095500"/>
              <a:gd name="connsiteX4" fmla="*/ 895350 w 5905500"/>
              <a:gd name="connsiteY4" fmla="*/ 247650 h 2095500"/>
              <a:gd name="connsiteX0" fmla="*/ 685800 w 5905500"/>
              <a:gd name="connsiteY0" fmla="*/ 38100 h 2095500"/>
              <a:gd name="connsiteX1" fmla="*/ 5905500 w 5905500"/>
              <a:gd name="connsiteY1" fmla="*/ 0 h 2095500"/>
              <a:gd name="connsiteX2" fmla="*/ 5334000 w 5905500"/>
              <a:gd name="connsiteY2" fmla="*/ 1333500 h 2095500"/>
              <a:gd name="connsiteX3" fmla="*/ 0 w 5905500"/>
              <a:gd name="connsiteY3" fmla="*/ 2095500 h 2095500"/>
              <a:gd name="connsiteX4" fmla="*/ 685800 w 5905500"/>
              <a:gd name="connsiteY4" fmla="*/ 38100 h 2095500"/>
              <a:gd name="connsiteX0" fmla="*/ 628650 w 5848350"/>
              <a:gd name="connsiteY0" fmla="*/ 38100 h 1733550"/>
              <a:gd name="connsiteX1" fmla="*/ 5848350 w 5848350"/>
              <a:gd name="connsiteY1" fmla="*/ 0 h 1733550"/>
              <a:gd name="connsiteX2" fmla="*/ 5276850 w 5848350"/>
              <a:gd name="connsiteY2" fmla="*/ 1333500 h 1733550"/>
              <a:gd name="connsiteX3" fmla="*/ 0 w 5848350"/>
              <a:gd name="connsiteY3" fmla="*/ 1733550 h 1733550"/>
              <a:gd name="connsiteX4" fmla="*/ 628650 w 5848350"/>
              <a:gd name="connsiteY4" fmla="*/ 38100 h 173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48350" h="1733550">
                <a:moveTo>
                  <a:pt x="628650" y="38100"/>
                </a:moveTo>
                <a:lnTo>
                  <a:pt x="5848350" y="0"/>
                </a:lnTo>
                <a:lnTo>
                  <a:pt x="5276850" y="1333500"/>
                </a:lnTo>
                <a:lnTo>
                  <a:pt x="0" y="1733550"/>
                </a:lnTo>
                <a:lnTo>
                  <a:pt x="628650" y="3810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" name="矩形 1"/>
          <p:cNvSpPr/>
          <p:nvPr userDrawn="1"/>
        </p:nvSpPr>
        <p:spPr>
          <a:xfrm>
            <a:off x="1790700" y="1905000"/>
            <a:ext cx="8376474" cy="2679739"/>
          </a:xfrm>
          <a:custGeom>
            <a:avLst/>
            <a:gdLst>
              <a:gd name="connsiteX0" fmla="*/ 0 w 4819650"/>
              <a:gd name="connsiteY0" fmla="*/ 0 h 1885950"/>
              <a:gd name="connsiteX1" fmla="*/ 4819650 w 4819650"/>
              <a:gd name="connsiteY1" fmla="*/ 0 h 1885950"/>
              <a:gd name="connsiteX2" fmla="*/ 4819650 w 4819650"/>
              <a:gd name="connsiteY2" fmla="*/ 1885950 h 1885950"/>
              <a:gd name="connsiteX3" fmla="*/ 0 w 4819650"/>
              <a:gd name="connsiteY3" fmla="*/ 1885950 h 1885950"/>
              <a:gd name="connsiteX4" fmla="*/ 0 w 4819650"/>
              <a:gd name="connsiteY4" fmla="*/ 0 h 1885950"/>
              <a:gd name="connsiteX0" fmla="*/ 0 w 5295900"/>
              <a:gd name="connsiteY0" fmla="*/ 0 h 1885950"/>
              <a:gd name="connsiteX1" fmla="*/ 5295900 w 5295900"/>
              <a:gd name="connsiteY1" fmla="*/ 304800 h 1885950"/>
              <a:gd name="connsiteX2" fmla="*/ 4819650 w 5295900"/>
              <a:gd name="connsiteY2" fmla="*/ 1885950 h 1885950"/>
              <a:gd name="connsiteX3" fmla="*/ 0 w 5295900"/>
              <a:gd name="connsiteY3" fmla="*/ 1885950 h 1885950"/>
              <a:gd name="connsiteX4" fmla="*/ 0 w 5295900"/>
              <a:gd name="connsiteY4" fmla="*/ 0 h 1885950"/>
              <a:gd name="connsiteX0" fmla="*/ 0 w 5295900"/>
              <a:gd name="connsiteY0" fmla="*/ 0 h 1885950"/>
              <a:gd name="connsiteX1" fmla="*/ 5295900 w 5295900"/>
              <a:gd name="connsiteY1" fmla="*/ 304800 h 1885950"/>
              <a:gd name="connsiteX2" fmla="*/ 4724400 w 5295900"/>
              <a:gd name="connsiteY2" fmla="*/ 1638300 h 1885950"/>
              <a:gd name="connsiteX3" fmla="*/ 0 w 5295900"/>
              <a:gd name="connsiteY3" fmla="*/ 1885950 h 1885950"/>
              <a:gd name="connsiteX4" fmla="*/ 0 w 5295900"/>
              <a:gd name="connsiteY4" fmla="*/ 0 h 1885950"/>
              <a:gd name="connsiteX0" fmla="*/ 609600 w 5905500"/>
              <a:gd name="connsiteY0" fmla="*/ 0 h 2400300"/>
              <a:gd name="connsiteX1" fmla="*/ 5905500 w 5905500"/>
              <a:gd name="connsiteY1" fmla="*/ 304800 h 2400300"/>
              <a:gd name="connsiteX2" fmla="*/ 5334000 w 5905500"/>
              <a:gd name="connsiteY2" fmla="*/ 1638300 h 2400300"/>
              <a:gd name="connsiteX3" fmla="*/ 0 w 5905500"/>
              <a:gd name="connsiteY3" fmla="*/ 2400300 h 2400300"/>
              <a:gd name="connsiteX4" fmla="*/ 609600 w 5905500"/>
              <a:gd name="connsiteY4" fmla="*/ 0 h 2400300"/>
              <a:gd name="connsiteX0" fmla="*/ 895350 w 5905500"/>
              <a:gd name="connsiteY0" fmla="*/ 247650 h 2095500"/>
              <a:gd name="connsiteX1" fmla="*/ 5905500 w 5905500"/>
              <a:gd name="connsiteY1" fmla="*/ 0 h 2095500"/>
              <a:gd name="connsiteX2" fmla="*/ 5334000 w 5905500"/>
              <a:gd name="connsiteY2" fmla="*/ 1333500 h 2095500"/>
              <a:gd name="connsiteX3" fmla="*/ 0 w 5905500"/>
              <a:gd name="connsiteY3" fmla="*/ 2095500 h 2095500"/>
              <a:gd name="connsiteX4" fmla="*/ 895350 w 5905500"/>
              <a:gd name="connsiteY4" fmla="*/ 247650 h 2095500"/>
              <a:gd name="connsiteX0" fmla="*/ 685800 w 5905500"/>
              <a:gd name="connsiteY0" fmla="*/ 38100 h 2095500"/>
              <a:gd name="connsiteX1" fmla="*/ 5905500 w 5905500"/>
              <a:gd name="connsiteY1" fmla="*/ 0 h 2095500"/>
              <a:gd name="connsiteX2" fmla="*/ 5334000 w 5905500"/>
              <a:gd name="connsiteY2" fmla="*/ 1333500 h 2095500"/>
              <a:gd name="connsiteX3" fmla="*/ 0 w 5905500"/>
              <a:gd name="connsiteY3" fmla="*/ 2095500 h 2095500"/>
              <a:gd name="connsiteX4" fmla="*/ 685800 w 5905500"/>
              <a:gd name="connsiteY4" fmla="*/ 38100 h 2095500"/>
              <a:gd name="connsiteX0" fmla="*/ 628650 w 5848350"/>
              <a:gd name="connsiteY0" fmla="*/ 38100 h 1733550"/>
              <a:gd name="connsiteX1" fmla="*/ 5848350 w 5848350"/>
              <a:gd name="connsiteY1" fmla="*/ 0 h 1733550"/>
              <a:gd name="connsiteX2" fmla="*/ 5276850 w 5848350"/>
              <a:gd name="connsiteY2" fmla="*/ 1333500 h 1733550"/>
              <a:gd name="connsiteX3" fmla="*/ 0 w 5848350"/>
              <a:gd name="connsiteY3" fmla="*/ 1733550 h 1733550"/>
              <a:gd name="connsiteX4" fmla="*/ 628650 w 5848350"/>
              <a:gd name="connsiteY4" fmla="*/ 38100 h 173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48350" h="1733550">
                <a:moveTo>
                  <a:pt x="628650" y="38100"/>
                </a:moveTo>
                <a:lnTo>
                  <a:pt x="5848350" y="0"/>
                </a:lnTo>
                <a:lnTo>
                  <a:pt x="5276850" y="1333500"/>
                </a:lnTo>
                <a:lnTo>
                  <a:pt x="0" y="1733550"/>
                </a:lnTo>
                <a:lnTo>
                  <a:pt x="628650" y="38100"/>
                </a:lnTo>
                <a:close/>
              </a:path>
            </a:pathLst>
          </a:custGeom>
          <a:noFill/>
          <a:ln w="38100">
            <a:solidFill>
              <a:srgbClr val="42D2C4"/>
            </a:solidFill>
          </a:ln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" name="矩形 8"/>
          <p:cNvSpPr/>
          <p:nvPr userDrawn="1"/>
        </p:nvSpPr>
        <p:spPr>
          <a:xfrm>
            <a:off x="4469104" y="4822836"/>
            <a:ext cx="3019665" cy="400105"/>
          </a:xfrm>
          <a:prstGeom prst="rect">
            <a:avLst/>
          </a:prstGeom>
          <a:solidFill>
            <a:schemeClr val="bg1"/>
          </a:solidFill>
        </p:spPr>
        <p:txBody>
          <a:bodyPr wrap="none" lIns="91436" tIns="45718" rIns="91436" bIns="45718">
            <a:spAutoFit/>
          </a:bodyPr>
          <a:lstStyle/>
          <a:p>
            <a:r>
              <a:rPr kumimoji="1" lang="en-US" altLang="zh-CN" sz="2000" dirty="0"/>
              <a:t>PRESENTED</a:t>
            </a:r>
            <a:r>
              <a:rPr kumimoji="1" lang="zh-CN" altLang="en-US" sz="2000" dirty="0"/>
              <a:t> </a:t>
            </a:r>
            <a:r>
              <a:rPr kumimoji="1" lang="en-US" altLang="zh-CN" sz="2000" dirty="0"/>
              <a:t>BY</a:t>
            </a:r>
            <a:r>
              <a:rPr kumimoji="1" lang="zh-CN" altLang="en-US" sz="2000" dirty="0"/>
              <a:t> </a:t>
            </a:r>
            <a:r>
              <a:rPr kumimoji="1" lang="en-US" altLang="zh-CN" sz="2000" dirty="0"/>
              <a:t>OFFICEPLUS</a:t>
            </a:r>
          </a:p>
        </p:txBody>
      </p:sp>
    </p:spTree>
    <p:extLst>
      <p:ext uri="{BB962C8B-B14F-4D97-AF65-F5344CB8AC3E}">
        <p14:creationId xmlns:p14="http://schemas.microsoft.com/office/powerpoint/2010/main" val="2041452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350" y="-1"/>
            <a:ext cx="12325350" cy="6866809"/>
          </a:xfrm>
          <a:prstGeom prst="rect">
            <a:avLst/>
          </a:prstGeom>
        </p:spPr>
      </p:pic>
      <p:sp>
        <p:nvSpPr>
          <p:cNvPr id="7" name="等腰三角形 6"/>
          <p:cNvSpPr/>
          <p:nvPr userDrawn="1"/>
        </p:nvSpPr>
        <p:spPr>
          <a:xfrm rot="5400000">
            <a:off x="-881063" y="738187"/>
            <a:ext cx="6858000" cy="5381625"/>
          </a:xfrm>
          <a:prstGeom prst="triangle">
            <a:avLst/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等腰三角形 7"/>
          <p:cNvSpPr/>
          <p:nvPr userDrawn="1"/>
        </p:nvSpPr>
        <p:spPr>
          <a:xfrm rot="5400000">
            <a:off x="-1624013" y="738186"/>
            <a:ext cx="6858000" cy="5381625"/>
          </a:xfrm>
          <a:prstGeom prst="triangle">
            <a:avLst/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486614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E73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440603" y="759873"/>
            <a:ext cx="662361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zh-CN" altLang="en-US" sz="1867" dirty="0">
                <a:solidFill>
                  <a:srgbClr val="FFFFFF"/>
                </a:solidFill>
                <a:latin typeface="Segoe UI Light"/>
                <a:cs typeface="Segoe UI Light"/>
              </a:rPr>
              <a:t>标注</a:t>
            </a:r>
          </a:p>
        </p:txBody>
      </p:sp>
      <p:sp>
        <p:nvSpPr>
          <p:cNvPr id="6" name="矩形 5"/>
          <p:cNvSpPr/>
          <p:nvPr userDrawn="1"/>
        </p:nvSpPr>
        <p:spPr>
          <a:xfrm>
            <a:off x="2857674" y="841948"/>
            <a:ext cx="1402001" cy="3292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srgbClr val="FFFFFF"/>
                </a:solidFill>
                <a:latin typeface="Segoe UI Light"/>
                <a:cs typeface="Segoe UI Light"/>
              </a:rPr>
              <a:t>字体使用 </a:t>
            </a: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srgbClr val="FFFFFF"/>
                </a:solidFill>
                <a:latin typeface="Segoe UI Light"/>
                <a:cs typeface="Segoe UI Light"/>
              </a:rPr>
              <a:t>行距</a:t>
            </a: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srgbClr val="FFFFFF"/>
                </a:solidFill>
                <a:latin typeface="Segoe UI Light"/>
                <a:cs typeface="Segoe UI Light"/>
              </a:rPr>
              <a:t>背景图片出处</a:t>
            </a:r>
          </a:p>
          <a:p>
            <a:pPr defTabSz="609585">
              <a:lnSpc>
                <a:spcPct val="130000"/>
              </a:lnSpc>
            </a:pPr>
            <a:endParaRPr lang="zh-CN" altLang="en-US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zh-CN" altLang="en-US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srgbClr val="FFFFFF"/>
                </a:solidFill>
                <a:latin typeface="Segoe UI Light"/>
                <a:cs typeface="Segoe UI Light"/>
              </a:rPr>
              <a:t>声明</a:t>
            </a: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4395052" y="841948"/>
            <a:ext cx="3727457" cy="38257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srgbClr val="FFFFFF"/>
                </a:solidFill>
                <a:latin typeface="Segoe UI Light"/>
                <a:cs typeface="Segoe UI Light"/>
              </a:rPr>
              <a:t>英文 </a:t>
            </a:r>
            <a:r>
              <a:rPr lang="en-US" altLang="zh-CN" sz="1333" dirty="0">
                <a:solidFill>
                  <a:srgbClr val="FFFFFF"/>
                </a:solidFill>
                <a:latin typeface="Segoe UI Light"/>
                <a:cs typeface="Segoe UI Light"/>
              </a:rPr>
              <a:t>Calibri</a:t>
            </a: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srgbClr val="FFFFFF"/>
                </a:solidFill>
                <a:latin typeface="Segoe UI Light"/>
                <a:cs typeface="Segoe UI Light"/>
              </a:rPr>
              <a:t>中文 微软雅黑</a:t>
            </a: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srgbClr val="FFFFFF"/>
                </a:solidFill>
                <a:latin typeface="Segoe UI Light"/>
                <a:cs typeface="Segoe UI Light"/>
              </a:rPr>
              <a:t>正文 </a:t>
            </a:r>
            <a:r>
              <a:rPr lang="en-US" altLang="zh-CN" sz="1333" dirty="0">
                <a:solidFill>
                  <a:srgbClr val="FFFFFF"/>
                </a:solidFill>
                <a:latin typeface="Segoe UI Light"/>
                <a:cs typeface="Segoe UI Light"/>
              </a:rPr>
              <a:t>1.3</a:t>
            </a: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r>
              <a:rPr lang="en-US" altLang="zh-CN" sz="1333" dirty="0" err="1">
                <a:solidFill>
                  <a:srgbClr val="FFFFFF"/>
                </a:solidFill>
                <a:latin typeface="Segoe UI Light"/>
                <a:cs typeface="Segoe UI Light"/>
              </a:rPr>
              <a:t>cn.bing.com</a:t>
            </a:r>
            <a:endParaRPr lang="zh-CN" altLang="en-US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zh-CN" altLang="en-US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zh-CN" altLang="en-US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prstClr val="white"/>
                </a:solidFill>
              </a:rPr>
              <a:t>互联网是一个开放共享的平台</a:t>
            </a:r>
          </a:p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prstClr val="white"/>
                </a:solidFill>
              </a:rPr>
              <a:t>Office</a:t>
            </a:r>
            <a:r>
              <a:rPr lang="en-US" altLang="zh-CN" sz="1333" dirty="0">
                <a:solidFill>
                  <a:prstClr val="white"/>
                </a:solidFill>
              </a:rPr>
              <a:t>PLUS </a:t>
            </a:r>
            <a:r>
              <a:rPr lang="zh-CN" altLang="en-US" sz="1333" dirty="0">
                <a:solidFill>
                  <a:prstClr val="white"/>
                </a:solidFill>
              </a:rPr>
              <a:t>部分设计灵感与元素来源于网络</a:t>
            </a:r>
          </a:p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prstClr val="white"/>
                </a:solidFill>
              </a:rPr>
              <a:t>如有建议请联系officeplus@microsoft.com</a:t>
            </a: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440603" y="182445"/>
            <a:ext cx="81624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kumimoji="1" lang="en-US" altLang="zh-CN" sz="1067" dirty="0" err="1">
                <a:solidFill>
                  <a:srgbClr val="FFFFFF"/>
                </a:solidFill>
                <a:latin typeface="Segoe UI Light"/>
                <a:cs typeface="Segoe UI Light"/>
              </a:rPr>
              <a:t>OfficePLUS</a:t>
            </a:r>
            <a:endParaRPr lang="zh-CN" altLang="en-US" sz="1067" dirty="0">
              <a:solidFill>
                <a:srgbClr val="FFFFFF"/>
              </a:solidFill>
              <a:latin typeface="Segoe UI Light"/>
              <a:cs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2809994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hlinkClick r:id="rId2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431" y="2521041"/>
            <a:ext cx="3177903" cy="418585"/>
          </a:xfrm>
          <a:prstGeom prst="rect">
            <a:avLst/>
          </a:prstGeom>
        </p:spPr>
      </p:pic>
      <p:sp>
        <p:nvSpPr>
          <p:cNvPr id="9" name="文本框 8"/>
          <p:cNvSpPr txBox="1"/>
          <p:nvPr userDrawn="1"/>
        </p:nvSpPr>
        <p:spPr>
          <a:xfrm>
            <a:off x="4259746" y="3740751"/>
            <a:ext cx="3347390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 sz="1333" dirty="0">
                <a:solidFill>
                  <a:schemeClr val="tx1">
                    <a:lumMod val="75000"/>
                    <a:lumOff val="25000"/>
                  </a:schemeClr>
                </a:solidFill>
              </a:rPr>
              <a:t>点击</a:t>
            </a:r>
            <a:r>
              <a:rPr kumimoji="1" lang="en-US" altLang="zh-CN" sz="1333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go</a:t>
            </a:r>
            <a:r>
              <a:rPr kumimoji="1" lang="zh-CN" altLang="en-US" sz="1333" dirty="0">
                <a:solidFill>
                  <a:schemeClr val="tx1">
                    <a:lumMod val="75000"/>
                    <a:lumOff val="25000"/>
                  </a:schemeClr>
                </a:solidFill>
              </a:rPr>
              <a:t>获取更多优质模板（放映模式）</a:t>
            </a:r>
          </a:p>
        </p:txBody>
      </p:sp>
    </p:spTree>
    <p:extLst>
      <p:ext uri="{BB962C8B-B14F-4D97-AF65-F5344CB8AC3E}">
        <p14:creationId xmlns:p14="http://schemas.microsoft.com/office/powerpoint/2010/main" val="2553010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片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350" y="-1"/>
            <a:ext cx="12325350" cy="6866809"/>
          </a:xfrm>
          <a:prstGeom prst="rect">
            <a:avLst/>
          </a:prstGeom>
        </p:spPr>
      </p:pic>
      <p:grpSp>
        <p:nvGrpSpPr>
          <p:cNvPr id="8" name="组合 7"/>
          <p:cNvGrpSpPr/>
          <p:nvPr userDrawn="1"/>
        </p:nvGrpSpPr>
        <p:grpSpPr>
          <a:xfrm rot="5400000">
            <a:off x="904873" y="-1990273"/>
            <a:ext cx="6124575" cy="6858001"/>
            <a:chOff x="-885826" y="-1"/>
            <a:chExt cx="6124575" cy="6858001"/>
          </a:xfrm>
        </p:grpSpPr>
        <p:sp>
          <p:nvSpPr>
            <p:cNvPr id="9" name="等腰三角形 8"/>
            <p:cNvSpPr/>
            <p:nvPr/>
          </p:nvSpPr>
          <p:spPr>
            <a:xfrm rot="5400000">
              <a:off x="-881063" y="738187"/>
              <a:ext cx="6858000" cy="5381625"/>
            </a:xfrm>
            <a:prstGeom prst="triangle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等腰三角形 9"/>
            <p:cNvSpPr/>
            <p:nvPr/>
          </p:nvSpPr>
          <p:spPr>
            <a:xfrm rot="5400000">
              <a:off x="-1624013" y="738186"/>
              <a:ext cx="6858000" cy="5381625"/>
            </a:xfrm>
            <a:prstGeom prst="triangle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" name="组合 10"/>
          <p:cNvGrpSpPr/>
          <p:nvPr userDrawn="1"/>
        </p:nvGrpSpPr>
        <p:grpSpPr>
          <a:xfrm rot="16200000">
            <a:off x="904874" y="1215512"/>
            <a:ext cx="6124575" cy="6858001"/>
            <a:chOff x="-885826" y="-1"/>
            <a:chExt cx="6124575" cy="6858001"/>
          </a:xfrm>
        </p:grpSpPr>
        <p:sp>
          <p:nvSpPr>
            <p:cNvPr id="12" name="等腰三角形 11"/>
            <p:cNvSpPr/>
            <p:nvPr/>
          </p:nvSpPr>
          <p:spPr>
            <a:xfrm rot="5400000">
              <a:off x="-881063" y="738187"/>
              <a:ext cx="6858000" cy="5381625"/>
            </a:xfrm>
            <a:prstGeom prst="triangle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等腰三角形 12"/>
            <p:cNvSpPr/>
            <p:nvPr/>
          </p:nvSpPr>
          <p:spPr>
            <a:xfrm rot="5400000">
              <a:off x="-1624013" y="738186"/>
              <a:ext cx="6858000" cy="5381625"/>
            </a:xfrm>
            <a:prstGeom prst="triangle">
              <a:avLst/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95015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350" y="-1"/>
            <a:ext cx="12325350" cy="6866809"/>
          </a:xfrm>
          <a:prstGeom prst="rect">
            <a:avLst/>
          </a:prstGeom>
        </p:spPr>
      </p:pic>
      <p:cxnSp>
        <p:nvCxnSpPr>
          <p:cNvPr id="10" name="直接连接符 9"/>
          <p:cNvCxnSpPr/>
          <p:nvPr userDrawn="1"/>
        </p:nvCxnSpPr>
        <p:spPr>
          <a:xfrm>
            <a:off x="-1257300" y="762000"/>
            <a:ext cx="5086350" cy="0"/>
          </a:xfrm>
          <a:prstGeom prst="line">
            <a:avLst/>
          </a:prstGeom>
          <a:ln>
            <a:solidFill>
              <a:schemeClr val="bg1"/>
            </a:solidFill>
            <a:tailEnd type="oval" w="lg" len="lg"/>
          </a:ln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 flipH="1">
            <a:off x="8343900" y="762000"/>
            <a:ext cx="5086350" cy="0"/>
          </a:xfrm>
          <a:prstGeom prst="line">
            <a:avLst/>
          </a:prstGeom>
          <a:ln>
            <a:solidFill>
              <a:schemeClr val="bg1"/>
            </a:solidFill>
            <a:tailEnd type="oval" w="lg" len="lg"/>
          </a:ln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0761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3350" y="-1"/>
            <a:ext cx="12325350" cy="6866809"/>
          </a:xfrm>
          <a:prstGeom prst="rect">
            <a:avLst/>
          </a:prstGeom>
        </p:spPr>
      </p:pic>
      <p:sp>
        <p:nvSpPr>
          <p:cNvPr id="6" name="矩形 1"/>
          <p:cNvSpPr/>
          <p:nvPr userDrawn="1"/>
        </p:nvSpPr>
        <p:spPr>
          <a:xfrm>
            <a:off x="2266950" y="2076450"/>
            <a:ext cx="7647842" cy="2266950"/>
          </a:xfrm>
          <a:custGeom>
            <a:avLst/>
            <a:gdLst>
              <a:gd name="connsiteX0" fmla="*/ 0 w 4819650"/>
              <a:gd name="connsiteY0" fmla="*/ 0 h 1885950"/>
              <a:gd name="connsiteX1" fmla="*/ 4819650 w 4819650"/>
              <a:gd name="connsiteY1" fmla="*/ 0 h 1885950"/>
              <a:gd name="connsiteX2" fmla="*/ 4819650 w 4819650"/>
              <a:gd name="connsiteY2" fmla="*/ 1885950 h 1885950"/>
              <a:gd name="connsiteX3" fmla="*/ 0 w 4819650"/>
              <a:gd name="connsiteY3" fmla="*/ 1885950 h 1885950"/>
              <a:gd name="connsiteX4" fmla="*/ 0 w 4819650"/>
              <a:gd name="connsiteY4" fmla="*/ 0 h 1885950"/>
              <a:gd name="connsiteX0" fmla="*/ 0 w 5295900"/>
              <a:gd name="connsiteY0" fmla="*/ 0 h 1885950"/>
              <a:gd name="connsiteX1" fmla="*/ 5295900 w 5295900"/>
              <a:gd name="connsiteY1" fmla="*/ 304800 h 1885950"/>
              <a:gd name="connsiteX2" fmla="*/ 4819650 w 5295900"/>
              <a:gd name="connsiteY2" fmla="*/ 1885950 h 1885950"/>
              <a:gd name="connsiteX3" fmla="*/ 0 w 5295900"/>
              <a:gd name="connsiteY3" fmla="*/ 1885950 h 1885950"/>
              <a:gd name="connsiteX4" fmla="*/ 0 w 5295900"/>
              <a:gd name="connsiteY4" fmla="*/ 0 h 1885950"/>
              <a:gd name="connsiteX0" fmla="*/ 0 w 5295900"/>
              <a:gd name="connsiteY0" fmla="*/ 0 h 1885950"/>
              <a:gd name="connsiteX1" fmla="*/ 5295900 w 5295900"/>
              <a:gd name="connsiteY1" fmla="*/ 304800 h 1885950"/>
              <a:gd name="connsiteX2" fmla="*/ 4724400 w 5295900"/>
              <a:gd name="connsiteY2" fmla="*/ 1638300 h 1885950"/>
              <a:gd name="connsiteX3" fmla="*/ 0 w 5295900"/>
              <a:gd name="connsiteY3" fmla="*/ 1885950 h 1885950"/>
              <a:gd name="connsiteX4" fmla="*/ 0 w 5295900"/>
              <a:gd name="connsiteY4" fmla="*/ 0 h 1885950"/>
              <a:gd name="connsiteX0" fmla="*/ 609600 w 5905500"/>
              <a:gd name="connsiteY0" fmla="*/ 0 h 2400300"/>
              <a:gd name="connsiteX1" fmla="*/ 5905500 w 5905500"/>
              <a:gd name="connsiteY1" fmla="*/ 304800 h 2400300"/>
              <a:gd name="connsiteX2" fmla="*/ 5334000 w 5905500"/>
              <a:gd name="connsiteY2" fmla="*/ 1638300 h 2400300"/>
              <a:gd name="connsiteX3" fmla="*/ 0 w 5905500"/>
              <a:gd name="connsiteY3" fmla="*/ 2400300 h 2400300"/>
              <a:gd name="connsiteX4" fmla="*/ 609600 w 5905500"/>
              <a:gd name="connsiteY4" fmla="*/ 0 h 2400300"/>
              <a:gd name="connsiteX0" fmla="*/ 895350 w 5905500"/>
              <a:gd name="connsiteY0" fmla="*/ 247650 h 2095500"/>
              <a:gd name="connsiteX1" fmla="*/ 5905500 w 5905500"/>
              <a:gd name="connsiteY1" fmla="*/ 0 h 2095500"/>
              <a:gd name="connsiteX2" fmla="*/ 5334000 w 5905500"/>
              <a:gd name="connsiteY2" fmla="*/ 1333500 h 2095500"/>
              <a:gd name="connsiteX3" fmla="*/ 0 w 5905500"/>
              <a:gd name="connsiteY3" fmla="*/ 2095500 h 2095500"/>
              <a:gd name="connsiteX4" fmla="*/ 895350 w 5905500"/>
              <a:gd name="connsiteY4" fmla="*/ 247650 h 2095500"/>
              <a:gd name="connsiteX0" fmla="*/ 685800 w 5905500"/>
              <a:gd name="connsiteY0" fmla="*/ 38100 h 2095500"/>
              <a:gd name="connsiteX1" fmla="*/ 5905500 w 5905500"/>
              <a:gd name="connsiteY1" fmla="*/ 0 h 2095500"/>
              <a:gd name="connsiteX2" fmla="*/ 5334000 w 5905500"/>
              <a:gd name="connsiteY2" fmla="*/ 1333500 h 2095500"/>
              <a:gd name="connsiteX3" fmla="*/ 0 w 5905500"/>
              <a:gd name="connsiteY3" fmla="*/ 2095500 h 2095500"/>
              <a:gd name="connsiteX4" fmla="*/ 685800 w 5905500"/>
              <a:gd name="connsiteY4" fmla="*/ 38100 h 2095500"/>
              <a:gd name="connsiteX0" fmla="*/ 628650 w 5848350"/>
              <a:gd name="connsiteY0" fmla="*/ 38100 h 1733550"/>
              <a:gd name="connsiteX1" fmla="*/ 5848350 w 5848350"/>
              <a:gd name="connsiteY1" fmla="*/ 0 h 1733550"/>
              <a:gd name="connsiteX2" fmla="*/ 5276850 w 5848350"/>
              <a:gd name="connsiteY2" fmla="*/ 1333500 h 1733550"/>
              <a:gd name="connsiteX3" fmla="*/ 0 w 5848350"/>
              <a:gd name="connsiteY3" fmla="*/ 1733550 h 1733550"/>
              <a:gd name="connsiteX4" fmla="*/ 628650 w 5848350"/>
              <a:gd name="connsiteY4" fmla="*/ 38100 h 173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48350" h="1733550">
                <a:moveTo>
                  <a:pt x="628650" y="38100"/>
                </a:moveTo>
                <a:lnTo>
                  <a:pt x="5848350" y="0"/>
                </a:lnTo>
                <a:lnTo>
                  <a:pt x="5276850" y="1333500"/>
                </a:lnTo>
                <a:lnTo>
                  <a:pt x="0" y="1733550"/>
                </a:lnTo>
                <a:lnTo>
                  <a:pt x="628650" y="3810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" name="矩形 1"/>
          <p:cNvSpPr/>
          <p:nvPr userDrawn="1"/>
        </p:nvSpPr>
        <p:spPr>
          <a:xfrm>
            <a:off x="1790700" y="1905000"/>
            <a:ext cx="8376474" cy="2679739"/>
          </a:xfrm>
          <a:custGeom>
            <a:avLst/>
            <a:gdLst>
              <a:gd name="connsiteX0" fmla="*/ 0 w 4819650"/>
              <a:gd name="connsiteY0" fmla="*/ 0 h 1885950"/>
              <a:gd name="connsiteX1" fmla="*/ 4819650 w 4819650"/>
              <a:gd name="connsiteY1" fmla="*/ 0 h 1885950"/>
              <a:gd name="connsiteX2" fmla="*/ 4819650 w 4819650"/>
              <a:gd name="connsiteY2" fmla="*/ 1885950 h 1885950"/>
              <a:gd name="connsiteX3" fmla="*/ 0 w 4819650"/>
              <a:gd name="connsiteY3" fmla="*/ 1885950 h 1885950"/>
              <a:gd name="connsiteX4" fmla="*/ 0 w 4819650"/>
              <a:gd name="connsiteY4" fmla="*/ 0 h 1885950"/>
              <a:gd name="connsiteX0" fmla="*/ 0 w 5295900"/>
              <a:gd name="connsiteY0" fmla="*/ 0 h 1885950"/>
              <a:gd name="connsiteX1" fmla="*/ 5295900 w 5295900"/>
              <a:gd name="connsiteY1" fmla="*/ 304800 h 1885950"/>
              <a:gd name="connsiteX2" fmla="*/ 4819650 w 5295900"/>
              <a:gd name="connsiteY2" fmla="*/ 1885950 h 1885950"/>
              <a:gd name="connsiteX3" fmla="*/ 0 w 5295900"/>
              <a:gd name="connsiteY3" fmla="*/ 1885950 h 1885950"/>
              <a:gd name="connsiteX4" fmla="*/ 0 w 5295900"/>
              <a:gd name="connsiteY4" fmla="*/ 0 h 1885950"/>
              <a:gd name="connsiteX0" fmla="*/ 0 w 5295900"/>
              <a:gd name="connsiteY0" fmla="*/ 0 h 1885950"/>
              <a:gd name="connsiteX1" fmla="*/ 5295900 w 5295900"/>
              <a:gd name="connsiteY1" fmla="*/ 304800 h 1885950"/>
              <a:gd name="connsiteX2" fmla="*/ 4724400 w 5295900"/>
              <a:gd name="connsiteY2" fmla="*/ 1638300 h 1885950"/>
              <a:gd name="connsiteX3" fmla="*/ 0 w 5295900"/>
              <a:gd name="connsiteY3" fmla="*/ 1885950 h 1885950"/>
              <a:gd name="connsiteX4" fmla="*/ 0 w 5295900"/>
              <a:gd name="connsiteY4" fmla="*/ 0 h 1885950"/>
              <a:gd name="connsiteX0" fmla="*/ 609600 w 5905500"/>
              <a:gd name="connsiteY0" fmla="*/ 0 h 2400300"/>
              <a:gd name="connsiteX1" fmla="*/ 5905500 w 5905500"/>
              <a:gd name="connsiteY1" fmla="*/ 304800 h 2400300"/>
              <a:gd name="connsiteX2" fmla="*/ 5334000 w 5905500"/>
              <a:gd name="connsiteY2" fmla="*/ 1638300 h 2400300"/>
              <a:gd name="connsiteX3" fmla="*/ 0 w 5905500"/>
              <a:gd name="connsiteY3" fmla="*/ 2400300 h 2400300"/>
              <a:gd name="connsiteX4" fmla="*/ 609600 w 5905500"/>
              <a:gd name="connsiteY4" fmla="*/ 0 h 2400300"/>
              <a:gd name="connsiteX0" fmla="*/ 895350 w 5905500"/>
              <a:gd name="connsiteY0" fmla="*/ 247650 h 2095500"/>
              <a:gd name="connsiteX1" fmla="*/ 5905500 w 5905500"/>
              <a:gd name="connsiteY1" fmla="*/ 0 h 2095500"/>
              <a:gd name="connsiteX2" fmla="*/ 5334000 w 5905500"/>
              <a:gd name="connsiteY2" fmla="*/ 1333500 h 2095500"/>
              <a:gd name="connsiteX3" fmla="*/ 0 w 5905500"/>
              <a:gd name="connsiteY3" fmla="*/ 2095500 h 2095500"/>
              <a:gd name="connsiteX4" fmla="*/ 895350 w 5905500"/>
              <a:gd name="connsiteY4" fmla="*/ 247650 h 2095500"/>
              <a:gd name="connsiteX0" fmla="*/ 685800 w 5905500"/>
              <a:gd name="connsiteY0" fmla="*/ 38100 h 2095500"/>
              <a:gd name="connsiteX1" fmla="*/ 5905500 w 5905500"/>
              <a:gd name="connsiteY1" fmla="*/ 0 h 2095500"/>
              <a:gd name="connsiteX2" fmla="*/ 5334000 w 5905500"/>
              <a:gd name="connsiteY2" fmla="*/ 1333500 h 2095500"/>
              <a:gd name="connsiteX3" fmla="*/ 0 w 5905500"/>
              <a:gd name="connsiteY3" fmla="*/ 2095500 h 2095500"/>
              <a:gd name="connsiteX4" fmla="*/ 685800 w 5905500"/>
              <a:gd name="connsiteY4" fmla="*/ 38100 h 2095500"/>
              <a:gd name="connsiteX0" fmla="*/ 628650 w 5848350"/>
              <a:gd name="connsiteY0" fmla="*/ 38100 h 1733550"/>
              <a:gd name="connsiteX1" fmla="*/ 5848350 w 5848350"/>
              <a:gd name="connsiteY1" fmla="*/ 0 h 1733550"/>
              <a:gd name="connsiteX2" fmla="*/ 5276850 w 5848350"/>
              <a:gd name="connsiteY2" fmla="*/ 1333500 h 1733550"/>
              <a:gd name="connsiteX3" fmla="*/ 0 w 5848350"/>
              <a:gd name="connsiteY3" fmla="*/ 1733550 h 1733550"/>
              <a:gd name="connsiteX4" fmla="*/ 628650 w 5848350"/>
              <a:gd name="connsiteY4" fmla="*/ 38100 h 173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48350" h="1733550">
                <a:moveTo>
                  <a:pt x="628650" y="38100"/>
                </a:moveTo>
                <a:lnTo>
                  <a:pt x="5848350" y="0"/>
                </a:lnTo>
                <a:lnTo>
                  <a:pt x="5276850" y="1333500"/>
                </a:lnTo>
                <a:lnTo>
                  <a:pt x="0" y="1733550"/>
                </a:lnTo>
                <a:lnTo>
                  <a:pt x="628650" y="38100"/>
                </a:lnTo>
                <a:close/>
              </a:path>
            </a:pathLst>
          </a:custGeom>
          <a:noFill/>
          <a:ln w="38100">
            <a:solidFill>
              <a:srgbClr val="42D2C4"/>
            </a:solidFill>
          </a:ln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" name="矩形 8"/>
          <p:cNvSpPr/>
          <p:nvPr userDrawn="1"/>
        </p:nvSpPr>
        <p:spPr>
          <a:xfrm>
            <a:off x="4469104" y="4822836"/>
            <a:ext cx="3019665" cy="400105"/>
          </a:xfrm>
          <a:prstGeom prst="rect">
            <a:avLst/>
          </a:prstGeom>
          <a:solidFill>
            <a:schemeClr val="bg1"/>
          </a:solidFill>
        </p:spPr>
        <p:txBody>
          <a:bodyPr wrap="none" lIns="91436" tIns="45718" rIns="91436" bIns="45718">
            <a:spAutoFit/>
          </a:bodyPr>
          <a:lstStyle/>
          <a:p>
            <a:r>
              <a:rPr kumimoji="1" lang="en-US" altLang="zh-CN" sz="2000" dirty="0"/>
              <a:t>PRESENTED</a:t>
            </a:r>
            <a:r>
              <a:rPr kumimoji="1" lang="zh-CN" altLang="en-US" sz="2000" dirty="0"/>
              <a:t> </a:t>
            </a:r>
            <a:r>
              <a:rPr kumimoji="1" lang="en-US" altLang="zh-CN" sz="2000" dirty="0"/>
              <a:t>BY</a:t>
            </a:r>
            <a:r>
              <a:rPr kumimoji="1" lang="zh-CN" altLang="en-US" sz="2000" dirty="0"/>
              <a:t> </a:t>
            </a:r>
            <a:r>
              <a:rPr kumimoji="1" lang="en-US" altLang="zh-CN" sz="2000" dirty="0"/>
              <a:t>OFFICEPLUS</a:t>
            </a:r>
          </a:p>
        </p:txBody>
      </p:sp>
    </p:spTree>
    <p:extLst>
      <p:ext uri="{BB962C8B-B14F-4D97-AF65-F5344CB8AC3E}">
        <p14:creationId xmlns:p14="http://schemas.microsoft.com/office/powerpoint/2010/main" val="6329739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E73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440603" y="759873"/>
            <a:ext cx="662361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zh-CN" altLang="en-US" sz="1867" dirty="0">
                <a:solidFill>
                  <a:srgbClr val="FFFFFF"/>
                </a:solidFill>
                <a:latin typeface="Segoe UI Light"/>
                <a:cs typeface="Segoe UI Light"/>
              </a:rPr>
              <a:t>标注</a:t>
            </a:r>
          </a:p>
        </p:txBody>
      </p:sp>
      <p:sp>
        <p:nvSpPr>
          <p:cNvPr id="6" name="矩形 5"/>
          <p:cNvSpPr/>
          <p:nvPr userDrawn="1"/>
        </p:nvSpPr>
        <p:spPr>
          <a:xfrm>
            <a:off x="2857674" y="841948"/>
            <a:ext cx="1402001" cy="3292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srgbClr val="FFFFFF"/>
                </a:solidFill>
                <a:latin typeface="Segoe UI Light"/>
                <a:cs typeface="Segoe UI Light"/>
              </a:rPr>
              <a:t>字体使用 </a:t>
            </a: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srgbClr val="FFFFFF"/>
                </a:solidFill>
                <a:latin typeface="Segoe UI Light"/>
                <a:cs typeface="Segoe UI Light"/>
              </a:rPr>
              <a:t>行距</a:t>
            </a: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srgbClr val="FFFFFF"/>
                </a:solidFill>
                <a:latin typeface="Segoe UI Light"/>
                <a:cs typeface="Segoe UI Light"/>
              </a:rPr>
              <a:t>背景图片出处</a:t>
            </a:r>
          </a:p>
          <a:p>
            <a:pPr defTabSz="609585">
              <a:lnSpc>
                <a:spcPct val="130000"/>
              </a:lnSpc>
            </a:pPr>
            <a:endParaRPr lang="zh-CN" altLang="en-US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zh-CN" altLang="en-US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srgbClr val="FFFFFF"/>
                </a:solidFill>
                <a:latin typeface="Segoe UI Light"/>
                <a:cs typeface="Segoe UI Light"/>
              </a:rPr>
              <a:t>声明</a:t>
            </a: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4395052" y="841948"/>
            <a:ext cx="3727457" cy="38257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srgbClr val="FFFFFF"/>
                </a:solidFill>
                <a:latin typeface="Segoe UI Light"/>
                <a:cs typeface="Segoe UI Light"/>
              </a:rPr>
              <a:t>英文 </a:t>
            </a:r>
            <a:r>
              <a:rPr lang="en-US" altLang="zh-CN" sz="1333" dirty="0">
                <a:solidFill>
                  <a:srgbClr val="FFFFFF"/>
                </a:solidFill>
                <a:latin typeface="Segoe UI Light"/>
                <a:cs typeface="Segoe UI Light"/>
              </a:rPr>
              <a:t>Calibri</a:t>
            </a: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srgbClr val="FFFFFF"/>
                </a:solidFill>
                <a:latin typeface="Segoe UI Light"/>
                <a:cs typeface="Segoe UI Light"/>
              </a:rPr>
              <a:t>中文 微软雅黑</a:t>
            </a: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srgbClr val="FFFFFF"/>
                </a:solidFill>
                <a:latin typeface="Segoe UI Light"/>
                <a:cs typeface="Segoe UI Light"/>
              </a:rPr>
              <a:t>正文 </a:t>
            </a:r>
            <a:r>
              <a:rPr lang="en-US" altLang="zh-CN" sz="1333" dirty="0">
                <a:solidFill>
                  <a:srgbClr val="FFFFFF"/>
                </a:solidFill>
                <a:latin typeface="Segoe UI Light"/>
                <a:cs typeface="Segoe UI Light"/>
              </a:rPr>
              <a:t>1.3</a:t>
            </a: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r>
              <a:rPr lang="en-US" altLang="zh-CN" sz="1333" dirty="0" err="1">
                <a:solidFill>
                  <a:srgbClr val="FFFFFF"/>
                </a:solidFill>
                <a:latin typeface="Segoe UI Light"/>
                <a:cs typeface="Segoe UI Light"/>
              </a:rPr>
              <a:t>cn.bing.com</a:t>
            </a:r>
            <a:endParaRPr lang="zh-CN" altLang="en-US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zh-CN" altLang="en-US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endParaRPr lang="zh-CN" altLang="en-US" sz="1333" dirty="0">
              <a:solidFill>
                <a:srgbClr val="FFFFFF"/>
              </a:solidFill>
              <a:latin typeface="Segoe UI Light"/>
              <a:cs typeface="Segoe UI Light"/>
            </a:endParaRPr>
          </a:p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prstClr val="white"/>
                </a:solidFill>
              </a:rPr>
              <a:t>互联网是一个开放共享的平台</a:t>
            </a:r>
          </a:p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prstClr val="white"/>
                </a:solidFill>
              </a:rPr>
              <a:t>Office</a:t>
            </a:r>
            <a:r>
              <a:rPr lang="en-US" altLang="zh-CN" sz="1333" dirty="0">
                <a:solidFill>
                  <a:prstClr val="white"/>
                </a:solidFill>
              </a:rPr>
              <a:t>PLUS </a:t>
            </a:r>
            <a:r>
              <a:rPr lang="zh-CN" altLang="en-US" sz="1333" dirty="0">
                <a:solidFill>
                  <a:prstClr val="white"/>
                </a:solidFill>
              </a:rPr>
              <a:t>部分设计灵感与元素来源于网络</a:t>
            </a:r>
          </a:p>
          <a:p>
            <a:pPr defTabSz="609585">
              <a:lnSpc>
                <a:spcPct val="130000"/>
              </a:lnSpc>
            </a:pPr>
            <a:r>
              <a:rPr lang="zh-CN" altLang="en-US" sz="1333" dirty="0">
                <a:solidFill>
                  <a:prstClr val="white"/>
                </a:solidFill>
              </a:rPr>
              <a:t>如有建议请联系officeplus@microsoft.com</a:t>
            </a:r>
            <a:endParaRPr lang="en-US" altLang="zh-CN" sz="1333" dirty="0">
              <a:solidFill>
                <a:srgbClr val="FFFFFF"/>
              </a:solidFill>
              <a:latin typeface="Segoe UI Light"/>
              <a:cs typeface="Segoe UI Light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440603" y="182445"/>
            <a:ext cx="816249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kumimoji="1" lang="en-US" altLang="zh-CN" sz="1067" dirty="0" err="1">
                <a:solidFill>
                  <a:srgbClr val="FFFFFF"/>
                </a:solidFill>
                <a:latin typeface="Segoe UI Light"/>
                <a:cs typeface="Segoe UI Light"/>
              </a:rPr>
              <a:t>OfficePLUS</a:t>
            </a:r>
            <a:endParaRPr lang="zh-CN" altLang="en-US" sz="1067" dirty="0">
              <a:solidFill>
                <a:srgbClr val="FFFFFF"/>
              </a:solidFill>
              <a:latin typeface="Segoe UI Light"/>
              <a:cs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8164340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hlinkClick r:id="rId2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431" y="2521041"/>
            <a:ext cx="3177903" cy="418585"/>
          </a:xfrm>
          <a:prstGeom prst="rect">
            <a:avLst/>
          </a:prstGeom>
        </p:spPr>
      </p:pic>
      <p:sp>
        <p:nvSpPr>
          <p:cNvPr id="9" name="文本框 8"/>
          <p:cNvSpPr txBox="1"/>
          <p:nvPr userDrawn="1"/>
        </p:nvSpPr>
        <p:spPr>
          <a:xfrm>
            <a:off x="4259746" y="3740751"/>
            <a:ext cx="3347390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 sz="1333" dirty="0">
                <a:solidFill>
                  <a:schemeClr val="tx1">
                    <a:lumMod val="75000"/>
                    <a:lumOff val="25000"/>
                  </a:schemeClr>
                </a:solidFill>
              </a:rPr>
              <a:t>点击</a:t>
            </a:r>
            <a:r>
              <a:rPr kumimoji="1" lang="en-US" altLang="zh-CN" sz="1333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go</a:t>
            </a:r>
            <a:r>
              <a:rPr kumimoji="1" lang="zh-CN" altLang="en-US" sz="1333" dirty="0">
                <a:solidFill>
                  <a:schemeClr val="tx1">
                    <a:lumMod val="75000"/>
                    <a:lumOff val="25000"/>
                  </a:schemeClr>
                </a:solidFill>
              </a:rPr>
              <a:t>获取更多优质模板（放映模式）</a:t>
            </a:r>
          </a:p>
        </p:txBody>
      </p:sp>
    </p:spTree>
    <p:extLst>
      <p:ext uri="{BB962C8B-B14F-4D97-AF65-F5344CB8AC3E}">
        <p14:creationId xmlns:p14="http://schemas.microsoft.com/office/powerpoint/2010/main" val="1813162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6"/>
            <a:ext cx="10363200" cy="1374775"/>
          </a:xfrm>
        </p:spPr>
        <p:txBody>
          <a:bodyPr/>
          <a:lstStyle>
            <a:lvl1pPr algn="r"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181600" y="3657600"/>
            <a:ext cx="6096000" cy="1752600"/>
          </a:xfrm>
        </p:spPr>
        <p:txBody>
          <a:bodyPr/>
          <a:lstStyle>
            <a:lvl1pPr marL="0" indent="0" algn="r">
              <a:buFont typeface="Wingdings" pitchFamily="2" charset="2"/>
              <a:buNone/>
              <a:defRPr sz="16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264997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vmlDrawing" Target="../drawings/vmlDrawing2.vml"/><Relationship Id="rId2" Type="http://schemas.openxmlformats.org/officeDocument/2006/relationships/slideLayout" Target="../slideLayouts/slideLayout10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28.xml"/><Relationship Id="rId10" Type="http://schemas.openxmlformats.org/officeDocument/2006/relationships/vmlDrawing" Target="../drawings/vmlDrawing4.vml"/><Relationship Id="rId4" Type="http://schemas.openxmlformats.org/officeDocument/2006/relationships/slideLayout" Target="../slideLayouts/slideLayout27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254544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0317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4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10972800" cy="868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371601"/>
            <a:ext cx="10972800" cy="475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10400" y="6324601"/>
            <a:ext cx="45720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defRPr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sz="800" dirty="0"/>
          </a:p>
          <a:p>
            <a:pPr>
              <a:spcBef>
                <a:spcPct val="0"/>
              </a:spcBef>
              <a:defRPr/>
            </a:pPr>
            <a:fld id="{71BDCF84-D611-43B9-8763-7400AA5C2265}" type="slidenum">
              <a:rPr lang="en-US"/>
              <a:pPr>
                <a:spcBef>
                  <a:spcPct val="0"/>
                </a:spcBef>
                <a:defRPr/>
              </a:pPr>
              <a:t>‹#›</a:t>
            </a:fld>
            <a:endParaRPr lang="en-US" dirty="0"/>
          </a:p>
        </p:txBody>
      </p:sp>
      <p:sp>
        <p:nvSpPr>
          <p:cNvPr id="1029" name="Line 7"/>
          <p:cNvSpPr>
            <a:spLocks noChangeShapeType="1"/>
          </p:cNvSpPr>
          <p:nvPr/>
        </p:nvSpPr>
        <p:spPr bwMode="auto">
          <a:xfrm>
            <a:off x="609600" y="1143000"/>
            <a:ext cx="10972800" cy="0"/>
          </a:xfrm>
          <a:prstGeom prst="line">
            <a:avLst/>
          </a:prstGeom>
          <a:noFill/>
          <a:ln w="9525">
            <a:solidFill>
              <a:srgbClr val="CECAA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/>
          </a:p>
        </p:txBody>
      </p:sp>
      <p:sp>
        <p:nvSpPr>
          <p:cNvPr id="2" name="Line 8"/>
          <p:cNvSpPr>
            <a:spLocks noChangeShapeType="1"/>
          </p:cNvSpPr>
          <p:nvPr/>
        </p:nvSpPr>
        <p:spPr bwMode="auto">
          <a:xfrm>
            <a:off x="609600" y="6248400"/>
            <a:ext cx="10972800" cy="0"/>
          </a:xfrm>
          <a:prstGeom prst="line">
            <a:avLst/>
          </a:prstGeom>
          <a:noFill/>
          <a:ln w="9525">
            <a:solidFill>
              <a:srgbClr val="CECAA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/>
          </a:p>
        </p:txBody>
      </p:sp>
      <p:sp>
        <p:nvSpPr>
          <p:cNvPr id="1031" name="TextBox 7"/>
          <p:cNvSpPr txBox="1">
            <a:spLocks noChangeArrowheads="1"/>
          </p:cNvSpPr>
          <p:nvPr userDrawn="1"/>
        </p:nvSpPr>
        <p:spPr bwMode="auto">
          <a:xfrm>
            <a:off x="518584" y="6343650"/>
            <a:ext cx="149592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1000" dirty="0">
                <a:solidFill>
                  <a:schemeClr val="bg1"/>
                </a:solidFill>
              </a:rPr>
              <a:t>October 1, 2014</a:t>
            </a:r>
          </a:p>
          <a:p>
            <a:pPr algn="l" eaLnBrk="1" hangingPunct="1">
              <a:defRPr/>
            </a:pPr>
            <a:r>
              <a:rPr lang="en-US" sz="1000" dirty="0">
                <a:solidFill>
                  <a:schemeClr val="bg1"/>
                </a:solidFill>
              </a:rPr>
              <a:t>Blockchain Technology</a:t>
            </a:r>
          </a:p>
        </p:txBody>
      </p:sp>
    </p:spTree>
    <p:extLst>
      <p:ext uri="{BB962C8B-B14F-4D97-AF65-F5344CB8AC3E}">
        <p14:creationId xmlns:p14="http://schemas.microsoft.com/office/powerpoint/2010/main" val="684105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24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2000">
          <a:solidFill>
            <a:schemeClr val="bg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>
          <a:solidFill>
            <a:schemeClr val="bg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bg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bg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bg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bg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bg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53289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dforce-network/DIP001" TargetMode="Externa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9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1" name="Rectangle 32"/>
          <p:cNvSpPr>
            <a:spLocks noChangeArrowheads="1"/>
          </p:cNvSpPr>
          <p:nvPr/>
        </p:nvSpPr>
        <p:spPr bwMode="auto">
          <a:xfrm>
            <a:off x="170918" y="4777820"/>
            <a:ext cx="5385705" cy="2646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SzPct val="80000"/>
              <a:buFont typeface="Wingdings" pitchFamily="2" charset="2"/>
              <a:buChar char="§"/>
              <a:defRPr sz="2400">
                <a:solidFill>
                  <a:schemeClr val="bg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SzPct val="80000"/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SzPct val="80000"/>
              <a:buFont typeface="Wingdings" pitchFamily="2" charset="2"/>
              <a:buChar char="§"/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SzPct val="8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SzPct val="8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808080"/>
              </a:buClr>
              <a:buSzTx/>
              <a:buNone/>
            </a:pPr>
            <a:r>
              <a:rPr lang="en-US" altLang="zh-CN" sz="3600" b="1" dirty="0" err="1">
                <a:solidFill>
                  <a:srgbClr val="FFFFFF"/>
                </a:solidFill>
              </a:rPr>
              <a:t>Mindao</a:t>
            </a:r>
            <a:r>
              <a:rPr lang="en-US" altLang="zh-CN" sz="3600" b="1" dirty="0">
                <a:solidFill>
                  <a:srgbClr val="FFFFFF"/>
                </a:solidFill>
              </a:rPr>
              <a:t> YANG</a:t>
            </a:r>
          </a:p>
          <a:p>
            <a:pPr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808080"/>
              </a:buClr>
              <a:buSzTx/>
              <a:buNone/>
            </a:pPr>
            <a:r>
              <a:rPr lang="en-US" altLang="zh-CN" sz="2800" b="1" dirty="0">
                <a:solidFill>
                  <a:srgbClr val="FFFFFF"/>
                </a:solidFill>
              </a:rPr>
              <a:t>Founder at </a:t>
            </a:r>
            <a:r>
              <a:rPr lang="en-US" altLang="zh-CN" sz="2800" b="1" dirty="0" err="1">
                <a:solidFill>
                  <a:srgbClr val="FFFFFF"/>
                </a:solidFill>
              </a:rPr>
              <a:t>dForce</a:t>
            </a:r>
            <a:endParaRPr lang="en-US" altLang="zh-CN" sz="2800" b="1" dirty="0">
              <a:solidFill>
                <a:srgbClr val="FFFFFF"/>
              </a:solidFill>
            </a:endParaRPr>
          </a:p>
          <a:p>
            <a:pPr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808080"/>
              </a:buClr>
              <a:buSzTx/>
              <a:buNone/>
            </a:pPr>
            <a:r>
              <a:rPr lang="en-US" altLang="zh-CN" b="1" dirty="0">
                <a:solidFill>
                  <a:srgbClr val="FFFFFF"/>
                </a:solidFill>
              </a:rPr>
              <a:t> </a:t>
            </a:r>
          </a:p>
          <a:p>
            <a:pPr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808080"/>
              </a:buClr>
              <a:buSzTx/>
              <a:buNone/>
            </a:pPr>
            <a:endParaRPr lang="en-US" altLang="zh-CN" b="1" dirty="0">
              <a:solidFill>
                <a:srgbClr val="FFFFFF"/>
              </a:solidFill>
            </a:endParaRPr>
          </a:p>
          <a:p>
            <a:pPr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808080"/>
              </a:buClr>
              <a:buSzTx/>
              <a:buNone/>
            </a:pPr>
            <a:endParaRPr lang="en-US" altLang="en-US" b="1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48964" y="161744"/>
            <a:ext cx="739317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4400" b="1" dirty="0">
                <a:solidFill>
                  <a:srgbClr val="FFFFFF"/>
                </a:solidFill>
                <a:latin typeface="Arial" charset="0"/>
              </a:rPr>
              <a:t>Unlock Collateral for Yield  </a:t>
            </a:r>
            <a:endParaRPr lang="en-US" sz="4400" b="1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4495801" y="1116419"/>
            <a:ext cx="35618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4800" b="1" dirty="0">
                <a:solidFill>
                  <a:srgbClr val="FFFFFF"/>
                </a:solidFill>
                <a:latin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07997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31FB1E8-F94C-42F5-B7C9-859994BC5570}"/>
              </a:ext>
            </a:extLst>
          </p:cNvPr>
          <p:cNvSpPr txBox="1"/>
          <p:nvPr/>
        </p:nvSpPr>
        <p:spPr>
          <a:xfrm>
            <a:off x="825126" y="570827"/>
            <a:ext cx="102822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Implementation for </a:t>
            </a:r>
            <a:r>
              <a:rPr lang="en-US" altLang="zh-CN" sz="3600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USDx</a:t>
            </a:r>
            <a:endParaRPr lang="en-US" altLang="zh-CN" sz="36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36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E600C5FD-ED1E-4772-9257-B8C9A086BC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62" t="5600" r="5312" b="7319"/>
          <a:stretch/>
        </p:blipFill>
        <p:spPr>
          <a:xfrm>
            <a:off x="868325" y="1531088"/>
            <a:ext cx="7713921" cy="2445488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2972D18F-D51E-49C9-B054-83CE8D3252DC}"/>
              </a:ext>
            </a:extLst>
          </p:cNvPr>
          <p:cNvSpPr txBox="1"/>
          <p:nvPr/>
        </p:nvSpPr>
        <p:spPr>
          <a:xfrm>
            <a:off x="800101" y="4381805"/>
            <a:ext cx="88170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assuming 35% of collateral unlocked and supplied to yield protocols (5% AP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Interest earned pooled and supply systematic APR 1.8% for all </a:t>
            </a:r>
            <a:r>
              <a:rPr lang="en-US" altLang="zh-CN" sz="1600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USDx</a:t>
            </a: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holde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USDx</a:t>
            </a: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holders are able to claim systematic interest without liquidity lock-up</a:t>
            </a:r>
          </a:p>
        </p:txBody>
      </p:sp>
    </p:spTree>
    <p:extLst>
      <p:ext uri="{BB962C8B-B14F-4D97-AF65-F5344CB8AC3E}">
        <p14:creationId xmlns:p14="http://schemas.microsoft.com/office/powerpoint/2010/main" val="2782861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31FB1E8-F94C-42F5-B7C9-859994BC5570}"/>
              </a:ext>
            </a:extLst>
          </p:cNvPr>
          <p:cNvSpPr txBox="1"/>
          <p:nvPr/>
        </p:nvSpPr>
        <p:spPr>
          <a:xfrm>
            <a:off x="825126" y="570827"/>
            <a:ext cx="102822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Implementation for DAI</a:t>
            </a:r>
          </a:p>
          <a:p>
            <a:endParaRPr lang="en-US" altLang="zh-CN" sz="36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35C0F479-ECB9-4C3C-89BB-96F243705B4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602" t="13521" r="5297" b="8084"/>
          <a:stretch/>
        </p:blipFill>
        <p:spPr>
          <a:xfrm>
            <a:off x="951614" y="1501934"/>
            <a:ext cx="8436936" cy="2554387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888D8D44-B7B3-42DA-AA6F-367929107717}"/>
              </a:ext>
            </a:extLst>
          </p:cNvPr>
          <p:cNvSpPr txBox="1"/>
          <p:nvPr/>
        </p:nvSpPr>
        <p:spPr>
          <a:xfrm>
            <a:off x="800101" y="4381805"/>
            <a:ext cx="785037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ETH/DAI collateral ratio stands at 331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assuming 35% of ETH collateral unlocked and supplied to yield protocols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DAI holders are able to claim ETH yield from the pool </a:t>
            </a:r>
          </a:p>
        </p:txBody>
      </p:sp>
    </p:spTree>
    <p:extLst>
      <p:ext uri="{BB962C8B-B14F-4D97-AF65-F5344CB8AC3E}">
        <p14:creationId xmlns:p14="http://schemas.microsoft.com/office/powerpoint/2010/main" val="296406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31FB1E8-F94C-42F5-B7C9-859994BC5570}"/>
              </a:ext>
            </a:extLst>
          </p:cNvPr>
          <p:cNvSpPr txBox="1"/>
          <p:nvPr/>
        </p:nvSpPr>
        <p:spPr>
          <a:xfrm>
            <a:off x="825126" y="570827"/>
            <a:ext cx="102822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Implementation for </a:t>
            </a:r>
            <a:r>
              <a:rPr lang="en-US" altLang="zh-CN" sz="3600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StableSwap</a:t>
            </a:r>
            <a:endParaRPr lang="en-US" altLang="zh-CN" sz="36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36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5409639-1950-4D33-8A7F-73D16C00F170}"/>
              </a:ext>
            </a:extLst>
          </p:cNvPr>
          <p:cNvSpPr txBox="1"/>
          <p:nvPr/>
        </p:nvSpPr>
        <p:spPr>
          <a:xfrm>
            <a:off x="705011" y="4789134"/>
            <a:ext cx="10927007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StableSwap</a:t>
            </a: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is being developed by </a:t>
            </a:r>
            <a:r>
              <a:rPr lang="en-US" altLang="zh-CN" sz="1600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dForce</a:t>
            </a: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community (replacing ETH with a </a:t>
            </a:r>
            <a:r>
              <a:rPr lang="en-US" altLang="zh-CN" sz="1600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stablecoin</a:t>
            </a: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(</a:t>
            </a:r>
            <a:r>
              <a:rPr lang="en-US" altLang="zh-CN" sz="1600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USDx</a:t>
            </a:r>
            <a:r>
              <a:rPr lang="zh-CN" altLang="en-US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as reserv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Interest earned from relending reserve assets (</a:t>
            </a:r>
            <a:r>
              <a:rPr lang="en-US" altLang="zh-CN" sz="1600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USDx</a:t>
            </a:r>
            <a:r>
              <a:rPr lang="zh-CN" altLang="en-US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is able to compensate market makers. </a:t>
            </a:r>
          </a:p>
          <a:p>
            <a:endParaRPr lang="en-US" altLang="zh-CN" sz="16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indent="-742950">
              <a:buAutoNum type="arabicPeriod"/>
            </a:pPr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indent="-742950">
              <a:buAutoNum type="arabicPeriod"/>
            </a:pPr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8830E93-61EE-4134-A6B8-A2FAAD9978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5125" y="1540614"/>
            <a:ext cx="7712415" cy="2994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500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31FB1E8-F94C-42F5-B7C9-859994BC5570}"/>
              </a:ext>
            </a:extLst>
          </p:cNvPr>
          <p:cNvSpPr txBox="1"/>
          <p:nvPr/>
        </p:nvSpPr>
        <p:spPr>
          <a:xfrm>
            <a:off x="-544819" y="301664"/>
            <a:ext cx="1028224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0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Yield Enhancement Sensitivities </a:t>
            </a:r>
            <a:endParaRPr lang="en-US" altLang="zh-CN" sz="2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F92B5EA-AD17-4E1C-87D2-746E9DFA84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054" y="1353220"/>
            <a:ext cx="7504499" cy="3824836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4FE65A91-4439-41FC-B72D-D93128EC575F}"/>
              </a:ext>
            </a:extLst>
          </p:cNvPr>
          <p:cNvSpPr txBox="1"/>
          <p:nvPr/>
        </p:nvSpPr>
        <p:spPr>
          <a:xfrm>
            <a:off x="8152097" y="1353220"/>
            <a:ext cx="4039903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Assuming an unlocked ratio of 35% and yield protocol with 5% AP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the collateral is able to generate 1.8% systematic APR for the stable asse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The more unlocked the higher the systematic APR for the target asse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How far can we go to optimize unlocked ratio </a:t>
            </a:r>
          </a:p>
          <a:p>
            <a:endParaRPr lang="en-US" altLang="zh-CN" sz="16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indent="-742950">
              <a:buAutoNum type="arabicPeriod"/>
            </a:pPr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indent="-742950">
              <a:buAutoNum type="arabicPeriod"/>
            </a:pPr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67327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31FB1E8-F94C-42F5-B7C9-859994BC5570}"/>
              </a:ext>
            </a:extLst>
          </p:cNvPr>
          <p:cNvSpPr txBox="1"/>
          <p:nvPr/>
        </p:nvSpPr>
        <p:spPr>
          <a:xfrm>
            <a:off x="93134" y="221921"/>
            <a:ext cx="10282246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0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Blended Collateral Ratio Sensitivities </a:t>
            </a:r>
            <a:endParaRPr lang="en-US" altLang="zh-CN" sz="2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>
              <a:buAutoNum type="arabicPeriod"/>
            </a:pPr>
            <a:endParaRPr lang="en-US" altLang="zh-CN" sz="2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>
              <a:buAutoNum type="arabicPeriod"/>
            </a:pPr>
            <a:endParaRPr lang="en-US" altLang="zh-CN" sz="2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20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    </a:t>
            </a:r>
          </a:p>
          <a:p>
            <a:endParaRPr lang="en-US" altLang="zh-CN" sz="2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F203BDB0-1BB1-4A38-AC7B-7DA388F889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533" y="1390260"/>
            <a:ext cx="7401566" cy="3540642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0DE563B-B855-44BE-9638-8DBE0A80756E}"/>
              </a:ext>
            </a:extLst>
          </p:cNvPr>
          <p:cNvSpPr txBox="1"/>
          <p:nvPr/>
        </p:nvSpPr>
        <p:spPr>
          <a:xfrm>
            <a:off x="8058963" y="1337271"/>
            <a:ext cx="4039903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Assuming 35% unlocked collateral and 150% minimum collateral ratio of lending protocols, overall collateral ratio  improve from 100% to 118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Liquifying is not de-collateralizing  </a:t>
            </a:r>
          </a:p>
          <a:p>
            <a:endParaRPr lang="en-US" altLang="zh-CN" sz="16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indent="-742950">
              <a:buAutoNum type="arabicPeriod"/>
            </a:pPr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indent="-742950">
              <a:buAutoNum type="arabicPeriod"/>
            </a:pPr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17679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EA79691D-3F91-4489-BBE6-5885E94772AE}"/>
              </a:ext>
            </a:extLst>
          </p:cNvPr>
          <p:cNvSpPr txBox="1"/>
          <p:nvPr/>
        </p:nvSpPr>
        <p:spPr>
          <a:xfrm>
            <a:off x="-3769241" y="941543"/>
            <a:ext cx="125145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Next to Watch 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66A6EADF-6EC5-4ACC-B698-92502FB9907C}"/>
              </a:ext>
            </a:extLst>
          </p:cNvPr>
          <p:cNvSpPr/>
          <p:nvPr/>
        </p:nvSpPr>
        <p:spPr>
          <a:xfrm>
            <a:off x="7283710" y="5822729"/>
            <a:ext cx="44294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dforce-network/DIP001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7DC4D67-22AC-49DE-808F-7EE8FA7A115B}"/>
              </a:ext>
            </a:extLst>
          </p:cNvPr>
          <p:cNvSpPr txBox="1"/>
          <p:nvPr/>
        </p:nvSpPr>
        <p:spPr>
          <a:xfrm>
            <a:off x="461902" y="1507438"/>
            <a:ext cx="9553968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r>
              <a:rPr lang="en-US" altLang="zh-CN" sz="28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altLang="zh-CN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USDx</a:t>
            </a: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with systematic yield from unlocked collaterals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Reserved-based </a:t>
            </a:r>
            <a:r>
              <a:rPr lang="en-US" altLang="zh-CN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dex</a:t>
            </a: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with  interest from reserve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altLang="zh-CN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CNYx</a:t>
            </a: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with DIP 001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       </a:t>
            </a: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2578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直接连接符 14"/>
          <p:cNvCxnSpPr/>
          <p:nvPr/>
        </p:nvCxnSpPr>
        <p:spPr>
          <a:xfrm>
            <a:off x="-1257300" y="762000"/>
            <a:ext cx="5086350" cy="0"/>
          </a:xfrm>
          <a:prstGeom prst="line">
            <a:avLst/>
          </a:prstGeom>
          <a:ln>
            <a:solidFill>
              <a:schemeClr val="bg1"/>
            </a:solidFill>
            <a:tailEnd type="oval" w="lg" len="lg"/>
          </a:ln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 flipH="1">
            <a:off x="8343900" y="762000"/>
            <a:ext cx="5086350" cy="0"/>
          </a:xfrm>
          <a:prstGeom prst="line">
            <a:avLst/>
          </a:prstGeom>
          <a:ln>
            <a:solidFill>
              <a:schemeClr val="bg1"/>
            </a:solidFill>
            <a:tailEnd type="oval" w="lg" len="lg"/>
          </a:ln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">
            <a:extLst>
              <a:ext uri="{FF2B5EF4-FFF2-40B4-BE49-F238E27FC236}">
                <a16:creationId xmlns:a16="http://schemas.microsoft.com/office/drawing/2014/main" id="{3AB047C6-B189-4ADB-A2E7-5B672441D909}"/>
              </a:ext>
            </a:extLst>
          </p:cNvPr>
          <p:cNvSpPr txBox="1"/>
          <p:nvPr/>
        </p:nvSpPr>
        <p:spPr>
          <a:xfrm>
            <a:off x="2225684" y="2680156"/>
            <a:ext cx="12795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mage credit: M. Ghez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D975F9-BBC3-499D-8083-9AAE145054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0400" y="5385995"/>
            <a:ext cx="3333750" cy="687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  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10" name="Picture 21">
            <a:extLst>
              <a:ext uri="{FF2B5EF4-FFF2-40B4-BE49-F238E27FC236}">
                <a16:creationId xmlns:a16="http://schemas.microsoft.com/office/drawing/2014/main" id="{04F26B64-BC63-4F51-A444-1098C83F47C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55093" y="0"/>
            <a:ext cx="13715999" cy="6858000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4414EF00-C4CD-47C7-848D-E02C2D6D4F97}"/>
              </a:ext>
            </a:extLst>
          </p:cNvPr>
          <p:cNvSpPr txBox="1"/>
          <p:nvPr/>
        </p:nvSpPr>
        <p:spPr>
          <a:xfrm>
            <a:off x="204282" y="922869"/>
            <a:ext cx="1232007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dirty="0">
                <a:solidFill>
                  <a:schemeClr val="bg1"/>
                </a:solidFill>
              </a:rPr>
              <a:t>Reimagine Money                     Reinvent Finance</a:t>
            </a:r>
          </a:p>
          <a:p>
            <a:endParaRPr lang="en-US" altLang="zh-CN" sz="4000" b="1" dirty="0">
              <a:solidFill>
                <a:schemeClr val="bg1"/>
              </a:solidFill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890D506-4039-46A5-B635-F610130ED14B}"/>
              </a:ext>
            </a:extLst>
          </p:cNvPr>
          <p:cNvSpPr/>
          <p:nvPr/>
        </p:nvSpPr>
        <p:spPr>
          <a:xfrm>
            <a:off x="8817674" y="6281025"/>
            <a:ext cx="30529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</a:rPr>
              <a:t>Telegram: t.me/dforcenet  </a:t>
            </a:r>
            <a:endParaRPr lang="zh-CN" alt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824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EA79691D-3F91-4489-BBE6-5885E94772AE}"/>
              </a:ext>
            </a:extLst>
          </p:cNvPr>
          <p:cNvSpPr txBox="1"/>
          <p:nvPr/>
        </p:nvSpPr>
        <p:spPr>
          <a:xfrm>
            <a:off x="983512" y="2073174"/>
            <a:ext cx="999460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DeFi</a:t>
            </a:r>
            <a:r>
              <a:rPr lang="en-US" altLang="zh-CN" sz="48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Protocols Underutilize its Collaterals </a:t>
            </a:r>
          </a:p>
        </p:txBody>
      </p:sp>
    </p:spTree>
    <p:extLst>
      <p:ext uri="{BB962C8B-B14F-4D97-AF65-F5344CB8AC3E}">
        <p14:creationId xmlns:p14="http://schemas.microsoft.com/office/powerpoint/2010/main" val="1127003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EA79691D-3F91-4489-BBE6-5885E94772AE}"/>
              </a:ext>
            </a:extLst>
          </p:cNvPr>
          <p:cNvSpPr txBox="1"/>
          <p:nvPr/>
        </p:nvSpPr>
        <p:spPr>
          <a:xfrm>
            <a:off x="1034237" y="101010"/>
            <a:ext cx="96340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DeFi</a:t>
            </a:r>
            <a:r>
              <a:rPr lang="en-US" altLang="zh-CN" sz="48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Over-collateralization  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BFA4C26B-EAFC-4321-B861-BB88A8499B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1842" y="1421936"/>
            <a:ext cx="9497490" cy="4617357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D50E2174-8774-4D2A-9BA0-595D2E12A5AA}"/>
              </a:ext>
            </a:extLst>
          </p:cNvPr>
          <p:cNvSpPr txBox="1"/>
          <p:nvPr/>
        </p:nvSpPr>
        <p:spPr>
          <a:xfrm>
            <a:off x="5471557" y="6434385"/>
            <a:ext cx="96340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Source: loanscan.io as of Oct 3 2019</a:t>
            </a:r>
          </a:p>
        </p:txBody>
      </p:sp>
    </p:spTree>
    <p:extLst>
      <p:ext uri="{BB962C8B-B14F-4D97-AF65-F5344CB8AC3E}">
        <p14:creationId xmlns:p14="http://schemas.microsoft.com/office/powerpoint/2010/main" val="2437455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31FB1E8-F94C-42F5-B7C9-859994BC5570}"/>
              </a:ext>
            </a:extLst>
          </p:cNvPr>
          <p:cNvSpPr txBox="1"/>
          <p:nvPr/>
        </p:nvSpPr>
        <p:spPr>
          <a:xfrm>
            <a:off x="1650960" y="2410260"/>
            <a:ext cx="9482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The Great Yield War in </a:t>
            </a:r>
            <a:r>
              <a:rPr lang="en-US" altLang="zh-CN" sz="3600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Defi</a:t>
            </a:r>
            <a:r>
              <a:rPr lang="en-US" altLang="zh-CN" sz="3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and </a:t>
            </a:r>
            <a:r>
              <a:rPr lang="en-US" altLang="zh-CN" sz="3600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CeFi</a:t>
            </a:r>
            <a:r>
              <a:rPr lang="en-US" altLang="zh-CN" sz="3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zh-CN" altLang="en-US" sz="32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50895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31FB1E8-F94C-42F5-B7C9-859994BC5570}"/>
              </a:ext>
            </a:extLst>
          </p:cNvPr>
          <p:cNvSpPr txBox="1"/>
          <p:nvPr/>
        </p:nvSpPr>
        <p:spPr>
          <a:xfrm>
            <a:off x="3639249" y="558209"/>
            <a:ext cx="9482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 rad="228600">
                    <a:srgbClr val="BBE0E3">
                      <a:satMod val="175000"/>
                      <a:alpha val="40000"/>
                    </a:srgbClr>
                  </a:glo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The Yield War in </a:t>
            </a:r>
            <a:r>
              <a:rPr kumimoji="0" lang="en-US" altLang="zh-CN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>
                  <a:glow rad="228600">
                    <a:srgbClr val="BBE0E3">
                      <a:satMod val="175000"/>
                      <a:alpha val="40000"/>
                    </a:srgbClr>
                  </a:glo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Defi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 rad="228600">
                    <a:srgbClr val="BBE0E3">
                      <a:satMod val="175000"/>
                      <a:alpha val="40000"/>
                    </a:srgbClr>
                  </a:glo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glow rad="228600">
                  <a:srgbClr val="BBE0E3">
                    <a:satMod val="175000"/>
                    <a:alpha val="40000"/>
                  </a:srgbClr>
                </a:glo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9BF2FBF-F4E9-4966-99E7-D219B61F2E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363" y="1637940"/>
            <a:ext cx="5924107" cy="2216782"/>
          </a:xfrm>
          <a:prstGeom prst="rect">
            <a:avLst/>
          </a:prstGeom>
        </p:spPr>
      </p:pic>
      <p:pic>
        <p:nvPicPr>
          <p:cNvPr id="2" name="图片 1">
            <a:extLst>
              <a:ext uri="{FF2B5EF4-FFF2-40B4-BE49-F238E27FC236}">
                <a16:creationId xmlns:a16="http://schemas.microsoft.com/office/drawing/2014/main" id="{E367AC84-302A-4FCE-83A5-D66C834CF7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363" y="4062384"/>
            <a:ext cx="5924106" cy="2104499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AE1A1C3D-6699-4313-9C46-B1DF9E749A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92114" y="1608577"/>
            <a:ext cx="5785463" cy="4531299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0E957783-4AE3-4A6C-B59B-38CCAF0B1852}"/>
              </a:ext>
            </a:extLst>
          </p:cNvPr>
          <p:cNvSpPr txBox="1"/>
          <p:nvPr/>
        </p:nvSpPr>
        <p:spPr>
          <a:xfrm>
            <a:off x="5471557" y="6434385"/>
            <a:ext cx="96340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Source: loanscan.io and </a:t>
            </a:r>
            <a:r>
              <a:rPr lang="en-US" altLang="zh-CN" sz="1100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uniswapdex</a:t>
            </a:r>
            <a:r>
              <a:rPr lang="en-US" altLang="zh-CN" sz="11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as of Oct 3 2019</a:t>
            </a:r>
          </a:p>
        </p:txBody>
      </p:sp>
    </p:spTree>
    <p:extLst>
      <p:ext uri="{BB962C8B-B14F-4D97-AF65-F5344CB8AC3E}">
        <p14:creationId xmlns:p14="http://schemas.microsoft.com/office/powerpoint/2010/main" val="1304833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31FB1E8-F94C-42F5-B7C9-859994BC5570}"/>
              </a:ext>
            </a:extLst>
          </p:cNvPr>
          <p:cNvSpPr txBox="1"/>
          <p:nvPr/>
        </p:nvSpPr>
        <p:spPr>
          <a:xfrm>
            <a:off x="639004" y="579569"/>
            <a:ext cx="115529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DAI is Launching DSR with MCD</a:t>
            </a:r>
            <a:endParaRPr lang="zh-CN" altLang="en-US" sz="4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CEDAFAB-2B57-473D-A2E8-BD6091564C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608" y="1638605"/>
            <a:ext cx="6700284" cy="3759373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544879CD-02EE-47D5-8536-85F75993322F}"/>
              </a:ext>
            </a:extLst>
          </p:cNvPr>
          <p:cNvSpPr txBox="1"/>
          <p:nvPr/>
        </p:nvSpPr>
        <p:spPr>
          <a:xfrm>
            <a:off x="7814764" y="1638605"/>
            <a:ext cx="3508909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DAI Holders to lock DAI in DSR contract – liquidity locked-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DAI system pay interest on locked DA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Available to anyone accessing DSR Contract </a:t>
            </a:r>
          </a:p>
        </p:txBody>
      </p:sp>
    </p:spTree>
    <p:extLst>
      <p:ext uri="{BB962C8B-B14F-4D97-AF65-F5344CB8AC3E}">
        <p14:creationId xmlns:p14="http://schemas.microsoft.com/office/powerpoint/2010/main" val="2091524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31FB1E8-F94C-42F5-B7C9-859994BC5570}"/>
              </a:ext>
            </a:extLst>
          </p:cNvPr>
          <p:cNvSpPr txBox="1"/>
          <p:nvPr/>
        </p:nvSpPr>
        <p:spPr>
          <a:xfrm>
            <a:off x="1232654" y="1065807"/>
            <a:ext cx="115529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Coinbase is Providing USDC yields </a:t>
            </a:r>
            <a:endParaRPr lang="zh-CN" altLang="en-US" sz="40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3D2A9C01-C4B6-4FCD-B859-EE666E0B801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36" r="1" b="3140"/>
          <a:stretch/>
        </p:blipFill>
        <p:spPr>
          <a:xfrm>
            <a:off x="1307806" y="2145226"/>
            <a:ext cx="6955464" cy="3269512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E32CED9D-21E9-4C88-A07C-492749D1EF39}"/>
              </a:ext>
            </a:extLst>
          </p:cNvPr>
          <p:cNvSpPr txBox="1"/>
          <p:nvPr/>
        </p:nvSpPr>
        <p:spPr>
          <a:xfrm>
            <a:off x="8468832" y="2027205"/>
            <a:ext cx="351389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USDC held with Coinb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USDC are paid with interes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Non-viable outside of Coinbase</a:t>
            </a:r>
          </a:p>
        </p:txBody>
      </p:sp>
    </p:spTree>
    <p:extLst>
      <p:ext uri="{BB962C8B-B14F-4D97-AF65-F5344CB8AC3E}">
        <p14:creationId xmlns:p14="http://schemas.microsoft.com/office/powerpoint/2010/main" val="1957536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EA79691D-3F91-4489-BBE6-5885E94772AE}"/>
              </a:ext>
            </a:extLst>
          </p:cNvPr>
          <p:cNvSpPr txBox="1"/>
          <p:nvPr/>
        </p:nvSpPr>
        <p:spPr>
          <a:xfrm>
            <a:off x="1438275" y="2854667"/>
            <a:ext cx="96340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Framework to liquify collateral</a:t>
            </a:r>
          </a:p>
        </p:txBody>
      </p:sp>
    </p:spTree>
    <p:extLst>
      <p:ext uri="{BB962C8B-B14F-4D97-AF65-F5344CB8AC3E}">
        <p14:creationId xmlns:p14="http://schemas.microsoft.com/office/powerpoint/2010/main" val="439948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031FB1E8-F94C-42F5-B7C9-859994BC5570}"/>
              </a:ext>
            </a:extLst>
          </p:cNvPr>
          <p:cNvSpPr txBox="1"/>
          <p:nvPr/>
        </p:nvSpPr>
        <p:spPr>
          <a:xfrm>
            <a:off x="818092" y="226215"/>
            <a:ext cx="9553968" cy="7602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General Framework:</a:t>
            </a:r>
          </a:p>
          <a:p>
            <a:r>
              <a:rPr lang="en-US" altLang="zh-CN" sz="2800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Protocol Test: </a:t>
            </a: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Collateralized and over collateralized protocols</a:t>
            </a:r>
            <a:r>
              <a:rPr lang="zh-CN" altLang="en-US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Maker, </a:t>
            </a:r>
            <a:r>
              <a:rPr lang="en-US" altLang="zh-CN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Uniswap</a:t>
            </a: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en-US" altLang="zh-CN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USDx</a:t>
            </a:r>
            <a:r>
              <a:rPr lang="zh-CN" altLang="en-US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Protocols with liquidity buffer (</a:t>
            </a:r>
            <a:r>
              <a:rPr lang="en-US" altLang="zh-CN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i.e</a:t>
            </a: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don’t require 100% liquidity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Collateral with interoperability and yield generating capability </a:t>
            </a:r>
          </a:p>
          <a:p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      </a:t>
            </a:r>
          </a:p>
          <a:p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Key Risk Parameters: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Liquidity parameters: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minimum liquidity requirements (</a:t>
            </a:r>
            <a:r>
              <a:rPr lang="en-US" altLang="zh-CN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i.e</a:t>
            </a: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35%)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liquidity share in yield protocols, </a:t>
            </a:r>
            <a:r>
              <a:rPr lang="en-US" altLang="zh-CN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i.e</a:t>
            </a: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less than 15%</a:t>
            </a:r>
          </a:p>
          <a:p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      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Yield protocol management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protocol selection (code audit, open source </a:t>
            </a:r>
            <a:r>
              <a:rPr lang="en-US" altLang="zh-CN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etc</a:t>
            </a: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)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automatic switches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tokenized yield (</a:t>
            </a:r>
            <a:r>
              <a:rPr lang="en-US" altLang="zh-CN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i.e</a:t>
            </a: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b="1" dirty="0" err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cToken</a:t>
            </a: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smart contract insurance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Backstop mechanism: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risk ringfencing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decoupling risks associated with compossibility/interdependences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b="1" dirty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endParaRPr lang="en-US" altLang="zh-CN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310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自定义 4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F2CA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plus">
      <a:majorFont>
        <a:latin typeface="Calibri Light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grpFill/>
        <a:ln w="9525">
          <a:noFill/>
          <a:round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 u="sng"/>
        </a:defPPr>
      </a:lst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自定义设计方案">
  <a:themeElements>
    <a:clrScheme name="自定义 4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F2CA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plus">
      <a:majorFont>
        <a:latin typeface="Calibri Light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grpFill/>
        <a:ln w="9525">
          <a:noFill/>
          <a:round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 u="sng"/>
        </a:defPPr>
      </a:lst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23</TotalTime>
  <Words>475</Words>
  <Application>Microsoft Macintosh PowerPoint</Application>
  <PresentationFormat>宽屏</PresentationFormat>
  <Paragraphs>116</Paragraphs>
  <Slides>16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27" baseType="lpstr">
      <vt:lpstr>宋体</vt:lpstr>
      <vt:lpstr>微软雅黑</vt:lpstr>
      <vt:lpstr>ＭＳ Ｐゴシック</vt:lpstr>
      <vt:lpstr>Segoe UI Light</vt:lpstr>
      <vt:lpstr>Arial</vt:lpstr>
      <vt:lpstr>Calibri</vt:lpstr>
      <vt:lpstr>Wingdings</vt:lpstr>
      <vt:lpstr>自定义设计方案</vt:lpstr>
      <vt:lpstr>Default Design</vt:lpstr>
      <vt:lpstr>1_自定义设计方案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sus</dc:creator>
  <cp:lastModifiedBy>Microsoft Office User</cp:lastModifiedBy>
  <cp:revision>538</cp:revision>
  <cp:lastPrinted>2017-07-22T21:44:48Z</cp:lastPrinted>
  <dcterms:created xsi:type="dcterms:W3CDTF">2015-07-31T08:15:03Z</dcterms:created>
  <dcterms:modified xsi:type="dcterms:W3CDTF">2019-10-06T14:11:21Z</dcterms:modified>
</cp:coreProperties>
</file>